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80" r:id="rId3"/>
    <p:sldMasterId id="2147483692" r:id="rId4"/>
    <p:sldMasterId id="2147483698" r:id="rId5"/>
    <p:sldMasterId id="2147483704" r:id="rId6"/>
    <p:sldMasterId id="2147483710" r:id="rId7"/>
    <p:sldMasterId id="2147483725" r:id="rId8"/>
  </p:sldMasterIdLst>
  <p:notesMasterIdLst>
    <p:notesMasterId r:id="rId39"/>
  </p:notesMasterIdLst>
  <p:handoutMasterIdLst>
    <p:handoutMasterId r:id="rId40"/>
  </p:handoutMasterIdLst>
  <p:sldIdLst>
    <p:sldId id="467" r:id="rId9"/>
    <p:sldId id="637" r:id="rId10"/>
    <p:sldId id="638" r:id="rId11"/>
    <p:sldId id="639" r:id="rId12"/>
    <p:sldId id="640" r:id="rId13"/>
    <p:sldId id="641" r:id="rId14"/>
    <p:sldId id="642" r:id="rId15"/>
    <p:sldId id="665" r:id="rId16"/>
    <p:sldId id="643" r:id="rId17"/>
    <p:sldId id="644" r:id="rId18"/>
    <p:sldId id="645" r:id="rId19"/>
    <p:sldId id="656" r:id="rId20"/>
    <p:sldId id="666" r:id="rId21"/>
    <p:sldId id="646" r:id="rId22"/>
    <p:sldId id="647" r:id="rId23"/>
    <p:sldId id="648" r:id="rId24"/>
    <p:sldId id="667" r:id="rId25"/>
    <p:sldId id="649" r:id="rId26"/>
    <p:sldId id="650" r:id="rId27"/>
    <p:sldId id="651" r:id="rId28"/>
    <p:sldId id="652" r:id="rId29"/>
    <p:sldId id="653" r:id="rId30"/>
    <p:sldId id="657" r:id="rId31"/>
    <p:sldId id="654" r:id="rId32"/>
    <p:sldId id="655" r:id="rId33"/>
    <p:sldId id="658" r:id="rId34"/>
    <p:sldId id="585" r:id="rId35"/>
    <p:sldId id="664" r:id="rId36"/>
    <p:sldId id="662" r:id="rId37"/>
    <p:sldId id="663" r:id="rId38"/>
  </p:sldIdLst>
  <p:sldSz cx="8961438" cy="6721475"/>
  <p:notesSz cx="6973888" cy="9236075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28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99" userDrawn="1">
          <p15:clr>
            <a:srgbClr val="A4A3A4"/>
          </p15:clr>
        </p15:guide>
        <p15:guide id="2" pos="2176" userDrawn="1">
          <p15:clr>
            <a:srgbClr val="A4A3A4"/>
          </p15:clr>
        </p15:guide>
        <p15:guide id="3" orient="horz" pos="2909" userDrawn="1">
          <p15:clr>
            <a:srgbClr val="A4A3A4"/>
          </p15:clr>
        </p15:guide>
        <p15:guide id="4" pos="21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Pack by Diakov" initials="RbD" lastIdx="1" clrIdx="0">
    <p:extLst>
      <p:ext uri="{19B8F6BF-5375-455C-9EA6-DF929625EA0E}">
        <p15:presenceInfo xmlns:p15="http://schemas.microsoft.com/office/powerpoint/2012/main" userId="RePack by Diak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33CC"/>
    <a:srgbClr val="1C436A"/>
    <a:srgbClr val="339933"/>
    <a:srgbClr val="306FAE"/>
    <a:srgbClr val="2E6AA5"/>
    <a:srgbClr val="B00000"/>
    <a:srgbClr val="940E06"/>
    <a:srgbClr val="D4DEE8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40" autoAdjust="0"/>
    <p:restoredTop sz="98129" autoAdjust="0"/>
  </p:normalViewPr>
  <p:slideViewPr>
    <p:cSldViewPr snapToGrid="0" snapToObjects="1">
      <p:cViewPr varScale="1">
        <p:scale>
          <a:sx n="63" d="100"/>
          <a:sy n="63" d="100"/>
        </p:scale>
        <p:origin x="744" y="67"/>
      </p:cViewPr>
      <p:guideLst>
        <p:guide orient="horz" pos="4233"/>
        <p:guide/>
        <p:guide orient="horz"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32988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2899"/>
        <p:guide pos="2176"/>
        <p:guide orient="horz" pos="2909"/>
        <p:guide pos="219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952514-5439-448A-9EA9-04B443FE7AEC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B4A1D91-EB58-4416-A23F-FF4011627362}">
      <dgm:prSet phldrT="[Текст]"/>
      <dgm:spPr/>
      <dgm:t>
        <a:bodyPr/>
        <a:lstStyle/>
        <a:p>
          <a:pPr>
            <a:buFont typeface="Wingdings" pitchFamily="2" charset="2"/>
            <a:buChar char="ü"/>
          </a:pPr>
          <a:r>
            <a:rPr lang="ru-RU" dirty="0">
              <a:latin typeface="+mj-lt"/>
            </a:rPr>
            <a:t>Это пять </a:t>
          </a:r>
          <a:r>
            <a:rPr lang="ru-RU" dirty="0" smtClean="0">
              <a:latin typeface="+mj-lt"/>
            </a:rPr>
            <a:t>простых принципов </a:t>
          </a:r>
          <a:r>
            <a:rPr lang="ru-RU" dirty="0">
              <a:latin typeface="+mj-lt"/>
            </a:rPr>
            <a:t>рациональной организации рабочего пространства, соблюдая которые, можно извлечь максимальную выгоду из имеющихся ресурсов.</a:t>
          </a:r>
          <a:endParaRPr lang="ru-RU" dirty="0"/>
        </a:p>
      </dgm:t>
    </dgm:pt>
    <dgm:pt modelId="{C8863E42-A4B3-4F34-BFDB-088D15FFAACD}" type="parTrans" cxnId="{04DBBE32-620C-424F-BE4A-78E380BB1C03}">
      <dgm:prSet/>
      <dgm:spPr/>
      <dgm:t>
        <a:bodyPr/>
        <a:lstStyle/>
        <a:p>
          <a:endParaRPr lang="ru-RU"/>
        </a:p>
      </dgm:t>
    </dgm:pt>
    <dgm:pt modelId="{01A08948-0861-49D9-8A52-0F1D28E68F26}" type="sibTrans" cxnId="{04DBBE32-620C-424F-BE4A-78E380BB1C03}">
      <dgm:prSet/>
      <dgm:spPr/>
      <dgm:t>
        <a:bodyPr/>
        <a:lstStyle/>
        <a:p>
          <a:endParaRPr lang="ru-RU"/>
        </a:p>
      </dgm:t>
    </dgm:pt>
    <dgm:pt modelId="{6804BC8C-A926-41CB-9DD3-5FA2B00DA54F}">
      <dgm:prSet phldrT="[Текст]"/>
      <dgm:spPr/>
      <dgm:t>
        <a:bodyPr/>
        <a:lstStyle/>
        <a:p>
          <a:pPr>
            <a:buFont typeface="Wingdings" pitchFamily="2" charset="2"/>
            <a:buChar char="ü"/>
          </a:pPr>
          <a:r>
            <a:rPr lang="ru-RU" dirty="0">
              <a:latin typeface="+mj-lt"/>
            </a:rPr>
            <a:t>Это отправная точка для любой компании, которая стремится стать ответственным производителем чья продукция отвечает уровню мирового класса</a:t>
          </a:r>
          <a:endParaRPr lang="ru-RU" dirty="0"/>
        </a:p>
      </dgm:t>
    </dgm:pt>
    <dgm:pt modelId="{3EFD3E8F-70C1-40A8-8443-1F73958A53F1}" type="parTrans" cxnId="{8EB35617-5DCA-4E1D-9E24-7DE9184F4B99}">
      <dgm:prSet/>
      <dgm:spPr/>
      <dgm:t>
        <a:bodyPr/>
        <a:lstStyle/>
        <a:p>
          <a:endParaRPr lang="ru-RU"/>
        </a:p>
      </dgm:t>
    </dgm:pt>
    <dgm:pt modelId="{F0A49C83-FE76-4A2D-B912-8DB06D36F267}" type="sibTrans" cxnId="{8EB35617-5DCA-4E1D-9E24-7DE9184F4B99}">
      <dgm:prSet/>
      <dgm:spPr/>
      <dgm:t>
        <a:bodyPr/>
        <a:lstStyle/>
        <a:p>
          <a:endParaRPr lang="ru-RU"/>
        </a:p>
      </dgm:t>
    </dgm:pt>
    <dgm:pt modelId="{14A3DB75-5B05-467B-9ED3-BC0CEC1F209D}">
      <dgm:prSet phldrT="[Текст]"/>
      <dgm:spPr/>
      <dgm:t>
        <a:bodyPr/>
        <a:lstStyle/>
        <a:p>
          <a:r>
            <a:rPr lang="ru-RU" dirty="0" smtClean="0">
              <a:latin typeface="+mj-lt"/>
            </a:rPr>
            <a:t>Это </a:t>
          </a:r>
          <a:r>
            <a:rPr lang="ru-RU" dirty="0" smtClean="0">
              <a:latin typeface="+mj-lt"/>
            </a:rPr>
            <a:t>система, </a:t>
          </a:r>
          <a:r>
            <a:rPr lang="ru-RU" dirty="0">
              <a:latin typeface="+mj-lt"/>
            </a:rPr>
            <a:t>направленная на правильную, безопасную и эффективную организацию рабочего места</a:t>
          </a:r>
          <a:endParaRPr lang="ru-RU" dirty="0"/>
        </a:p>
      </dgm:t>
    </dgm:pt>
    <dgm:pt modelId="{45BA8CC1-F94A-4DAA-A783-A3FE5261D33F}" type="parTrans" cxnId="{3EC08F13-13DF-4695-B530-F9A350286337}">
      <dgm:prSet/>
      <dgm:spPr/>
      <dgm:t>
        <a:bodyPr/>
        <a:lstStyle/>
        <a:p>
          <a:endParaRPr lang="ru-RU"/>
        </a:p>
      </dgm:t>
    </dgm:pt>
    <dgm:pt modelId="{D99157EB-D301-4859-AE81-8158E6F13412}" type="sibTrans" cxnId="{3EC08F13-13DF-4695-B530-F9A350286337}">
      <dgm:prSet/>
      <dgm:spPr/>
      <dgm:t>
        <a:bodyPr/>
        <a:lstStyle/>
        <a:p>
          <a:endParaRPr lang="ru-RU"/>
        </a:p>
      </dgm:t>
    </dgm:pt>
    <dgm:pt modelId="{D0CC98E6-7F90-4BD8-A95C-C3C0875D12AD}" type="pres">
      <dgm:prSet presAssocID="{EC952514-5439-448A-9EA9-04B443FE7AE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7BEAF114-9C37-4D50-886D-5C2F0414A75F}" type="pres">
      <dgm:prSet presAssocID="{EC952514-5439-448A-9EA9-04B443FE7AEC}" presName="Name1" presStyleCnt="0"/>
      <dgm:spPr/>
    </dgm:pt>
    <dgm:pt modelId="{1A92FE3B-F513-4CB2-AD27-F80A71B4F006}" type="pres">
      <dgm:prSet presAssocID="{EC952514-5439-448A-9EA9-04B443FE7AEC}" presName="cycle" presStyleCnt="0"/>
      <dgm:spPr/>
    </dgm:pt>
    <dgm:pt modelId="{45BA33E7-0ADB-4E21-9A14-82AD3DEAF9F8}" type="pres">
      <dgm:prSet presAssocID="{EC952514-5439-448A-9EA9-04B443FE7AEC}" presName="srcNode" presStyleLbl="node1" presStyleIdx="0" presStyleCnt="3"/>
      <dgm:spPr/>
    </dgm:pt>
    <dgm:pt modelId="{71383B3E-E2A6-4D0B-BF7F-470B364FA821}" type="pres">
      <dgm:prSet presAssocID="{EC952514-5439-448A-9EA9-04B443FE7AEC}" presName="conn" presStyleLbl="parChTrans1D2" presStyleIdx="0" presStyleCnt="1"/>
      <dgm:spPr/>
      <dgm:t>
        <a:bodyPr/>
        <a:lstStyle/>
        <a:p>
          <a:endParaRPr lang="ru-RU"/>
        </a:p>
      </dgm:t>
    </dgm:pt>
    <dgm:pt modelId="{A68F1589-3C75-4985-A4E7-2EF2E46F67BE}" type="pres">
      <dgm:prSet presAssocID="{EC952514-5439-448A-9EA9-04B443FE7AEC}" presName="extraNode" presStyleLbl="node1" presStyleIdx="0" presStyleCnt="3"/>
      <dgm:spPr/>
    </dgm:pt>
    <dgm:pt modelId="{8B5A7C12-7BE8-49B4-BAB1-2F60FF2F5238}" type="pres">
      <dgm:prSet presAssocID="{EC952514-5439-448A-9EA9-04B443FE7AEC}" presName="dstNode" presStyleLbl="node1" presStyleIdx="0" presStyleCnt="3"/>
      <dgm:spPr/>
    </dgm:pt>
    <dgm:pt modelId="{E4B4F849-F381-4A6E-B0DF-93136A76C4A7}" type="pres">
      <dgm:prSet presAssocID="{FB4A1D91-EB58-4416-A23F-FF4011627362}" presName="text_1" presStyleLbl="node1" presStyleIdx="0" presStyleCnt="3" custScaleX="84696" custLinFactNeighborX="13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9569E9-D739-4161-80F7-E16CA99B676E}" type="pres">
      <dgm:prSet presAssocID="{FB4A1D91-EB58-4416-A23F-FF4011627362}" presName="accent_1" presStyleCnt="0"/>
      <dgm:spPr/>
    </dgm:pt>
    <dgm:pt modelId="{7EA979A1-D086-43AA-BB98-FE6081FD2053}" type="pres">
      <dgm:prSet presAssocID="{FB4A1D91-EB58-4416-A23F-FF4011627362}" presName="accentRepeatNode" presStyleLbl="solidFgAcc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C82C9DC1-CA69-4798-ACC9-5496D5FD1651}" type="pres">
      <dgm:prSet presAssocID="{6804BC8C-A926-41CB-9DD3-5FA2B00DA54F}" presName="text_2" presStyleLbl="node1" presStyleIdx="1" presStyleCnt="3" custScaleX="82381" custLinFactNeighborX="22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2632DD-A5FA-4D53-AB09-CB7752CBDCDE}" type="pres">
      <dgm:prSet presAssocID="{6804BC8C-A926-41CB-9DD3-5FA2B00DA54F}" presName="accent_2" presStyleCnt="0"/>
      <dgm:spPr/>
    </dgm:pt>
    <dgm:pt modelId="{3AABA2F3-188B-4D05-A7F9-6A55D4C7C129}" type="pres">
      <dgm:prSet presAssocID="{6804BC8C-A926-41CB-9DD3-5FA2B00DA54F}" presName="accentRepeatNode" presStyleLbl="solidFgAcc1" presStyleIdx="1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FF74FD81-BC05-48C0-B61A-FAC2B051C484}" type="pres">
      <dgm:prSet presAssocID="{14A3DB75-5B05-467B-9ED3-BC0CEC1F209D}" presName="text_3" presStyleLbl="node1" presStyleIdx="2" presStyleCnt="3" custScaleX="84394" custLinFactNeighborX="18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30D68D-C10F-4420-982B-44B4426F6197}" type="pres">
      <dgm:prSet presAssocID="{14A3DB75-5B05-467B-9ED3-BC0CEC1F209D}" presName="accent_3" presStyleCnt="0"/>
      <dgm:spPr/>
    </dgm:pt>
    <dgm:pt modelId="{DA95496E-8FFD-4F7D-8DFB-17BB7AAE1B39}" type="pres">
      <dgm:prSet presAssocID="{14A3DB75-5B05-467B-9ED3-BC0CEC1F209D}" presName="accentRepeatNode" presStyleLbl="solidFgAcc1" presStyleIdx="2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3EC08F13-13DF-4695-B530-F9A350286337}" srcId="{EC952514-5439-448A-9EA9-04B443FE7AEC}" destId="{14A3DB75-5B05-467B-9ED3-BC0CEC1F209D}" srcOrd="2" destOrd="0" parTransId="{45BA8CC1-F94A-4DAA-A783-A3FE5261D33F}" sibTransId="{D99157EB-D301-4859-AE81-8158E6F13412}"/>
    <dgm:cxn modelId="{117992D3-9DBE-4C1B-B922-D5D5894C401D}" type="presOf" srcId="{EC952514-5439-448A-9EA9-04B443FE7AEC}" destId="{D0CC98E6-7F90-4BD8-A95C-C3C0875D12AD}" srcOrd="0" destOrd="0" presId="urn:microsoft.com/office/officeart/2008/layout/VerticalCurvedList"/>
    <dgm:cxn modelId="{9F91AD9C-1907-4C6C-9AAA-B1D926D7BA86}" type="presOf" srcId="{01A08948-0861-49D9-8A52-0F1D28E68F26}" destId="{71383B3E-E2A6-4D0B-BF7F-470B364FA821}" srcOrd="0" destOrd="0" presId="urn:microsoft.com/office/officeart/2008/layout/VerticalCurvedList"/>
    <dgm:cxn modelId="{891AE4B5-0AAE-4CD1-90F5-5C19708AB558}" type="presOf" srcId="{FB4A1D91-EB58-4416-A23F-FF4011627362}" destId="{E4B4F849-F381-4A6E-B0DF-93136A76C4A7}" srcOrd="0" destOrd="0" presId="urn:microsoft.com/office/officeart/2008/layout/VerticalCurvedList"/>
    <dgm:cxn modelId="{909054AC-1293-4F97-9ADE-D83D45D5A16E}" type="presOf" srcId="{6804BC8C-A926-41CB-9DD3-5FA2B00DA54F}" destId="{C82C9DC1-CA69-4798-ACC9-5496D5FD1651}" srcOrd="0" destOrd="0" presId="urn:microsoft.com/office/officeart/2008/layout/VerticalCurvedList"/>
    <dgm:cxn modelId="{8EB35617-5DCA-4E1D-9E24-7DE9184F4B99}" srcId="{EC952514-5439-448A-9EA9-04B443FE7AEC}" destId="{6804BC8C-A926-41CB-9DD3-5FA2B00DA54F}" srcOrd="1" destOrd="0" parTransId="{3EFD3E8F-70C1-40A8-8443-1F73958A53F1}" sibTransId="{F0A49C83-FE76-4A2D-B912-8DB06D36F267}"/>
    <dgm:cxn modelId="{40C7713D-DA2C-41B8-8AA6-B2D329D5EF4D}" type="presOf" srcId="{14A3DB75-5B05-467B-9ED3-BC0CEC1F209D}" destId="{FF74FD81-BC05-48C0-B61A-FAC2B051C484}" srcOrd="0" destOrd="0" presId="urn:microsoft.com/office/officeart/2008/layout/VerticalCurvedList"/>
    <dgm:cxn modelId="{04DBBE32-620C-424F-BE4A-78E380BB1C03}" srcId="{EC952514-5439-448A-9EA9-04B443FE7AEC}" destId="{FB4A1D91-EB58-4416-A23F-FF4011627362}" srcOrd="0" destOrd="0" parTransId="{C8863E42-A4B3-4F34-BFDB-088D15FFAACD}" sibTransId="{01A08948-0861-49D9-8A52-0F1D28E68F26}"/>
    <dgm:cxn modelId="{8D48572E-1182-44F3-A406-726205132C53}" type="presParOf" srcId="{D0CC98E6-7F90-4BD8-A95C-C3C0875D12AD}" destId="{7BEAF114-9C37-4D50-886D-5C2F0414A75F}" srcOrd="0" destOrd="0" presId="urn:microsoft.com/office/officeart/2008/layout/VerticalCurvedList"/>
    <dgm:cxn modelId="{94B7A3A7-1F28-4FFF-88B6-986D069BA4BB}" type="presParOf" srcId="{7BEAF114-9C37-4D50-886D-5C2F0414A75F}" destId="{1A92FE3B-F513-4CB2-AD27-F80A71B4F006}" srcOrd="0" destOrd="0" presId="urn:microsoft.com/office/officeart/2008/layout/VerticalCurvedList"/>
    <dgm:cxn modelId="{7C153C71-F89A-4EE3-BD1E-E334D76C7722}" type="presParOf" srcId="{1A92FE3B-F513-4CB2-AD27-F80A71B4F006}" destId="{45BA33E7-0ADB-4E21-9A14-82AD3DEAF9F8}" srcOrd="0" destOrd="0" presId="urn:microsoft.com/office/officeart/2008/layout/VerticalCurvedList"/>
    <dgm:cxn modelId="{0D847F97-4323-4864-B1F6-06BC68B03459}" type="presParOf" srcId="{1A92FE3B-F513-4CB2-AD27-F80A71B4F006}" destId="{71383B3E-E2A6-4D0B-BF7F-470B364FA821}" srcOrd="1" destOrd="0" presId="urn:microsoft.com/office/officeart/2008/layout/VerticalCurvedList"/>
    <dgm:cxn modelId="{71E6F8F8-836E-4654-B40C-E36A0CA6797D}" type="presParOf" srcId="{1A92FE3B-F513-4CB2-AD27-F80A71B4F006}" destId="{A68F1589-3C75-4985-A4E7-2EF2E46F67BE}" srcOrd="2" destOrd="0" presId="urn:microsoft.com/office/officeart/2008/layout/VerticalCurvedList"/>
    <dgm:cxn modelId="{0996BF1D-E9E7-498D-87CB-C5E1EF1A88AD}" type="presParOf" srcId="{1A92FE3B-F513-4CB2-AD27-F80A71B4F006}" destId="{8B5A7C12-7BE8-49B4-BAB1-2F60FF2F5238}" srcOrd="3" destOrd="0" presId="urn:microsoft.com/office/officeart/2008/layout/VerticalCurvedList"/>
    <dgm:cxn modelId="{F3AC2BCC-C376-46BB-BA50-10ED7F59D433}" type="presParOf" srcId="{7BEAF114-9C37-4D50-886D-5C2F0414A75F}" destId="{E4B4F849-F381-4A6E-B0DF-93136A76C4A7}" srcOrd="1" destOrd="0" presId="urn:microsoft.com/office/officeart/2008/layout/VerticalCurvedList"/>
    <dgm:cxn modelId="{C93F9E2C-E7D7-46B1-84DD-18C873AC45FD}" type="presParOf" srcId="{7BEAF114-9C37-4D50-886D-5C2F0414A75F}" destId="{759569E9-D739-4161-80F7-E16CA99B676E}" srcOrd="2" destOrd="0" presId="urn:microsoft.com/office/officeart/2008/layout/VerticalCurvedList"/>
    <dgm:cxn modelId="{CCDD9280-41AD-4667-B589-CB7B73B31D2A}" type="presParOf" srcId="{759569E9-D739-4161-80F7-E16CA99B676E}" destId="{7EA979A1-D086-43AA-BB98-FE6081FD2053}" srcOrd="0" destOrd="0" presId="urn:microsoft.com/office/officeart/2008/layout/VerticalCurvedList"/>
    <dgm:cxn modelId="{DA57BBF3-6CC9-4EA6-9C68-3857694740C8}" type="presParOf" srcId="{7BEAF114-9C37-4D50-886D-5C2F0414A75F}" destId="{C82C9DC1-CA69-4798-ACC9-5496D5FD1651}" srcOrd="3" destOrd="0" presId="urn:microsoft.com/office/officeart/2008/layout/VerticalCurvedList"/>
    <dgm:cxn modelId="{4503031A-77CB-4F69-B9A1-4590E9B49711}" type="presParOf" srcId="{7BEAF114-9C37-4D50-886D-5C2F0414A75F}" destId="{AC2632DD-A5FA-4D53-AB09-CB7752CBDCDE}" srcOrd="4" destOrd="0" presId="urn:microsoft.com/office/officeart/2008/layout/VerticalCurvedList"/>
    <dgm:cxn modelId="{F6214044-3AB1-4033-BF25-96CFA92E520D}" type="presParOf" srcId="{AC2632DD-A5FA-4D53-AB09-CB7752CBDCDE}" destId="{3AABA2F3-188B-4D05-A7F9-6A55D4C7C129}" srcOrd="0" destOrd="0" presId="urn:microsoft.com/office/officeart/2008/layout/VerticalCurvedList"/>
    <dgm:cxn modelId="{5C384AD2-2492-4964-9632-EF1350B8BA9A}" type="presParOf" srcId="{7BEAF114-9C37-4D50-886D-5C2F0414A75F}" destId="{FF74FD81-BC05-48C0-B61A-FAC2B051C484}" srcOrd="5" destOrd="0" presId="urn:microsoft.com/office/officeart/2008/layout/VerticalCurvedList"/>
    <dgm:cxn modelId="{EACA1863-D11D-4814-9570-76DF79EABED0}" type="presParOf" srcId="{7BEAF114-9C37-4D50-886D-5C2F0414A75F}" destId="{3B30D68D-C10F-4420-982B-44B4426F6197}" srcOrd="6" destOrd="0" presId="urn:microsoft.com/office/officeart/2008/layout/VerticalCurvedList"/>
    <dgm:cxn modelId="{ABD94AF5-E4C8-4254-93FA-483DE9B837C6}" type="presParOf" srcId="{3B30D68D-C10F-4420-982B-44B4426F6197}" destId="{DA95496E-8FFD-4F7D-8DFB-17BB7AAE1B3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383B3E-E2A6-4D0B-BF7F-470B364FA821}">
      <dsp:nvSpPr>
        <dsp:cNvPr id="0" name=""/>
        <dsp:cNvSpPr/>
      </dsp:nvSpPr>
      <dsp:spPr>
        <a:xfrm>
          <a:off x="-5777363" y="-928989"/>
          <a:ext cx="7227684" cy="7227684"/>
        </a:xfrm>
        <a:prstGeom prst="blockArc">
          <a:avLst>
            <a:gd name="adj1" fmla="val 18900000"/>
            <a:gd name="adj2" fmla="val 2700000"/>
            <a:gd name="adj3" fmla="val 299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B4F849-F381-4A6E-B0DF-93136A76C4A7}">
      <dsp:nvSpPr>
        <dsp:cNvPr id="0" name=""/>
        <dsp:cNvSpPr/>
      </dsp:nvSpPr>
      <dsp:spPr>
        <a:xfrm>
          <a:off x="1724400" y="536970"/>
          <a:ext cx="6475449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itchFamily="2" charset="2"/>
            <a:buChar char="ü"/>
          </a:pPr>
          <a:r>
            <a:rPr lang="ru-RU" sz="1800" kern="1200" dirty="0">
              <a:latin typeface="+mj-lt"/>
            </a:rPr>
            <a:t>Это пять </a:t>
          </a:r>
          <a:r>
            <a:rPr lang="ru-RU" sz="1800" kern="1200" dirty="0" smtClean="0">
              <a:latin typeface="+mj-lt"/>
            </a:rPr>
            <a:t>простых принципов </a:t>
          </a:r>
          <a:r>
            <a:rPr lang="ru-RU" sz="1800" kern="1200" dirty="0">
              <a:latin typeface="+mj-lt"/>
            </a:rPr>
            <a:t>рациональной организации рабочего пространства, соблюдая которые, можно извлечь максимальную выгоду из имеющихся ресурсов.</a:t>
          </a:r>
          <a:endParaRPr lang="ru-RU" sz="1800" kern="1200" dirty="0"/>
        </a:p>
      </dsp:txBody>
      <dsp:txXfrm>
        <a:off x="1724400" y="536970"/>
        <a:ext cx="6475449" cy="1073941"/>
      </dsp:txXfrm>
    </dsp:sp>
    <dsp:sp modelId="{7EA979A1-D086-43AA-BB98-FE6081FD2053}">
      <dsp:nvSpPr>
        <dsp:cNvPr id="0" name=""/>
        <dsp:cNvSpPr/>
      </dsp:nvSpPr>
      <dsp:spPr>
        <a:xfrm>
          <a:off x="366619" y="402727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2C9DC1-CA69-4798-ACC9-5496D5FD1651}">
      <dsp:nvSpPr>
        <dsp:cNvPr id="0" name=""/>
        <dsp:cNvSpPr/>
      </dsp:nvSpPr>
      <dsp:spPr>
        <a:xfrm>
          <a:off x="2232406" y="2147882"/>
          <a:ext cx="5976858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itchFamily="2" charset="2"/>
            <a:buChar char="ü"/>
          </a:pPr>
          <a:r>
            <a:rPr lang="ru-RU" sz="1800" kern="1200" dirty="0">
              <a:latin typeface="+mj-lt"/>
            </a:rPr>
            <a:t>Это отправная точка для любой компании, которая стремится стать ответственным производителем чья продукция отвечает уровню мирового класса</a:t>
          </a:r>
          <a:endParaRPr lang="ru-RU" sz="1800" kern="1200" dirty="0"/>
        </a:p>
      </dsp:txBody>
      <dsp:txXfrm>
        <a:off x="2232406" y="2147882"/>
        <a:ext cx="5976858" cy="1073941"/>
      </dsp:txXfrm>
    </dsp:sp>
    <dsp:sp modelId="{3AABA2F3-188B-4D05-A7F9-6A55D4C7C129}">
      <dsp:nvSpPr>
        <dsp:cNvPr id="0" name=""/>
        <dsp:cNvSpPr/>
      </dsp:nvSpPr>
      <dsp:spPr>
        <a:xfrm>
          <a:off x="756997" y="2013639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74FD81-BC05-48C0-B61A-FAC2B051C484}">
      <dsp:nvSpPr>
        <dsp:cNvPr id="0" name=""/>
        <dsp:cNvSpPr/>
      </dsp:nvSpPr>
      <dsp:spPr>
        <a:xfrm>
          <a:off x="1774019" y="3758794"/>
          <a:ext cx="6452360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+mj-lt"/>
            </a:rPr>
            <a:t>Это </a:t>
          </a:r>
          <a:r>
            <a:rPr lang="ru-RU" sz="1800" kern="1200" dirty="0" smtClean="0">
              <a:latin typeface="+mj-lt"/>
            </a:rPr>
            <a:t>система, </a:t>
          </a:r>
          <a:r>
            <a:rPr lang="ru-RU" sz="1800" kern="1200" dirty="0">
              <a:latin typeface="+mj-lt"/>
            </a:rPr>
            <a:t>направленная на правильную, безопасную и эффективную организацию рабочего места</a:t>
          </a:r>
          <a:endParaRPr lang="ru-RU" sz="1800" kern="1200" dirty="0"/>
        </a:p>
      </dsp:txBody>
      <dsp:txXfrm>
        <a:off x="1774019" y="3758794"/>
        <a:ext cx="6452360" cy="1073941"/>
      </dsp:txXfrm>
    </dsp:sp>
    <dsp:sp modelId="{DA95496E-8FFD-4F7D-8DFB-17BB7AAE1B39}">
      <dsp:nvSpPr>
        <dsp:cNvPr id="0" name=""/>
        <dsp:cNvSpPr/>
      </dsp:nvSpPr>
      <dsp:spPr>
        <a:xfrm>
          <a:off x="366619" y="3624551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77850"/>
            <a:ext cx="5419725" cy="4065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4740" y="4962911"/>
            <a:ext cx="594290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23638" y="8869352"/>
            <a:ext cx="55324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776822" y="9447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F22825-D153-4E4D-9252-DB1B88284036}" type="slidenum">
              <a:rPr lang="ru-RU" smtClean="0">
                <a:solidFill>
                  <a:prstClr val="black"/>
                </a:solidFill>
              </a:rPr>
              <a:pPr/>
              <a:t>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8488" y="623888"/>
            <a:ext cx="6102350" cy="4576762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6673" y="5381297"/>
            <a:ext cx="6026279" cy="246221"/>
          </a:xfrm>
          <a:noFill/>
          <a:ln/>
        </p:spPr>
        <p:txBody>
          <a:bodyPr/>
          <a:lstStyle/>
          <a:p>
            <a:pPr eaLnBrk="1" hangingPunct="1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151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3717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/>
              <a:t>Last Modified 12.30.2014 4:54 PM Russia TZ 2 Standard Time</a:t>
            </a:r>
            <a:endParaRPr lang="ru-RU" sz="9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Printed 12.5.2014 2:43 AM Russia TZ 2 Standard Time</a:t>
            </a:r>
            <a:endParaRPr lang="ru-RU" sz="900" dirty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4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6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4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10024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09" indent="0">
              <a:buNone/>
              <a:defRPr sz="2700"/>
            </a:lvl2pPr>
            <a:lvl3pPr marL="896017" indent="0">
              <a:buNone/>
              <a:defRPr sz="2400"/>
            </a:lvl3pPr>
            <a:lvl4pPr marL="1344026" indent="0">
              <a:buNone/>
              <a:defRPr sz="2000"/>
            </a:lvl4pPr>
            <a:lvl5pPr marL="1792034" indent="0">
              <a:buNone/>
              <a:defRPr sz="2000"/>
            </a:lvl5pPr>
            <a:lvl6pPr marL="2240043" indent="0">
              <a:buNone/>
              <a:defRPr sz="2000"/>
            </a:lvl6pPr>
            <a:lvl7pPr marL="2688051" indent="0">
              <a:buNone/>
              <a:defRPr sz="2000"/>
            </a:lvl7pPr>
            <a:lvl8pPr marL="3136060" indent="0">
              <a:buNone/>
              <a:defRPr sz="2000"/>
            </a:lvl8pPr>
            <a:lvl9pPr marL="35840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685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88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1"/>
            <a:ext cx="2062998" cy="614890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4" y="1"/>
            <a:ext cx="6044303" cy="61489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4140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5" y="287842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3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1" y="3219152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163552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556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56" indent="0">
              <a:buNone/>
              <a:defRPr sz="1800"/>
            </a:lvl2pPr>
            <a:lvl3pPr marL="896112" indent="0">
              <a:buNone/>
              <a:defRPr sz="1600"/>
            </a:lvl3pPr>
            <a:lvl4pPr marL="1344168" indent="0">
              <a:buNone/>
              <a:defRPr sz="1400"/>
            </a:lvl4pPr>
            <a:lvl5pPr marL="1792224" indent="0">
              <a:buNone/>
              <a:defRPr sz="1400"/>
            </a:lvl5pPr>
            <a:lvl6pPr marL="2240280" indent="0">
              <a:buNone/>
              <a:defRPr sz="1400"/>
            </a:lvl6pPr>
            <a:lvl7pPr marL="2688336" indent="0">
              <a:buNone/>
              <a:defRPr sz="1400"/>
            </a:lvl7pPr>
            <a:lvl8pPr marL="3136392" indent="0">
              <a:buNone/>
              <a:defRPr sz="1400"/>
            </a:lvl8pPr>
            <a:lvl9pPr marL="358444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0971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4" y="1103132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2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0953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850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8892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97821" y="630680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9147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2795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56" indent="0">
              <a:buNone/>
              <a:defRPr sz="2700"/>
            </a:lvl2pPr>
            <a:lvl3pPr marL="896112" indent="0">
              <a:buNone/>
              <a:defRPr sz="2400"/>
            </a:lvl3pPr>
            <a:lvl4pPr marL="1344168" indent="0">
              <a:buNone/>
              <a:defRPr sz="2000"/>
            </a:lvl4pPr>
            <a:lvl5pPr marL="1792224" indent="0">
              <a:buNone/>
              <a:defRPr sz="2000"/>
            </a:lvl5pPr>
            <a:lvl6pPr marL="2240280" indent="0">
              <a:buNone/>
              <a:defRPr sz="2000"/>
            </a:lvl6pPr>
            <a:lvl7pPr marL="2688336" indent="0">
              <a:buNone/>
              <a:defRPr sz="2000"/>
            </a:lvl7pPr>
            <a:lvl8pPr marL="3136392" indent="0">
              <a:buNone/>
              <a:defRPr sz="2000"/>
            </a:lvl8pPr>
            <a:lvl9pPr marL="358444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03587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13606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0"/>
            <a:ext cx="2062998" cy="614890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3" y="0"/>
            <a:ext cx="6044303" cy="61489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49097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55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18070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07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404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5937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6432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6" y="287843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4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2" y="3219153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997475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89737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7" y="4930777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7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7" y="2077139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80037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985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7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239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239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642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0111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612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15815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532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452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1754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898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32046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9035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8529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144076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890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35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1pPr>
            <a:lvl2pPr marL="44805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333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0940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78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6148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144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5426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36"/>
            </a:lvl1pPr>
            <a:lvl2pPr marL="448056" indent="0">
              <a:buNone/>
              <a:defRPr sz="2744"/>
            </a:lvl2pPr>
            <a:lvl3pPr marL="896112" indent="0">
              <a:buNone/>
              <a:defRPr sz="2352"/>
            </a:lvl3pPr>
            <a:lvl4pPr marL="1344168" indent="0">
              <a:buNone/>
              <a:defRPr sz="1960"/>
            </a:lvl4pPr>
            <a:lvl5pPr marL="1792224" indent="0">
              <a:buNone/>
              <a:defRPr sz="1960"/>
            </a:lvl5pPr>
            <a:lvl6pPr marL="2240280" indent="0">
              <a:buNone/>
              <a:defRPr sz="1960"/>
            </a:lvl6pPr>
            <a:lvl7pPr marL="2688336" indent="0">
              <a:buNone/>
              <a:defRPr sz="1960"/>
            </a:lvl7pPr>
            <a:lvl8pPr marL="3136392" indent="0">
              <a:buNone/>
              <a:defRPr sz="1960"/>
            </a:lvl8pPr>
            <a:lvl9pPr marL="3584448" indent="0">
              <a:buNone/>
              <a:defRPr sz="196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0054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565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09" indent="0">
              <a:buNone/>
              <a:defRPr sz="1800"/>
            </a:lvl2pPr>
            <a:lvl3pPr marL="896017" indent="0">
              <a:buNone/>
              <a:defRPr sz="1600"/>
            </a:lvl3pPr>
            <a:lvl4pPr marL="1344026" indent="0">
              <a:buNone/>
              <a:defRPr sz="1400"/>
            </a:lvl4pPr>
            <a:lvl5pPr marL="1792034" indent="0">
              <a:buNone/>
              <a:defRPr sz="1400"/>
            </a:lvl5pPr>
            <a:lvl6pPr marL="2240043" indent="0">
              <a:buNone/>
              <a:defRPr sz="1400"/>
            </a:lvl6pPr>
            <a:lvl7pPr marL="2688051" indent="0">
              <a:buNone/>
              <a:defRPr sz="1400"/>
            </a:lvl7pPr>
            <a:lvl8pPr marL="3136060" indent="0">
              <a:buNone/>
              <a:defRPr sz="1400"/>
            </a:lvl8pPr>
            <a:lvl9pPr marL="358406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7077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97042" y="269171"/>
            <a:ext cx="2016324" cy="573503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8072" y="269171"/>
            <a:ext cx="5899613" cy="573503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11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738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5" y="1103133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3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6179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3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3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8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8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851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43789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8464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png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/>
              <a:t>Last Modified 12.30.2014 4:54 PM Russia TZ 2 Standard Time</a:t>
            </a:r>
            <a:endParaRPr lang="ru-RU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12.5.2014 2:43 AM Russia TZ 2 Standard Time</a:t>
            </a:r>
            <a:endParaRPr lang="ru-RU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3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7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5589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0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01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02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03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37" indent="-1773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19" indent="-1742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688" indent="-26289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809" indent="-22400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595" indent="-22400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603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612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620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3629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5" y="6320054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2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6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423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5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11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16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2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56" indent="-17735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56" indent="-17424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809" indent="-262922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982" indent="-22402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810" indent="-22402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866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922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978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4034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83838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8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477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4745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9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472" indent="-609472" defTabSz="895160">
              <a:tabLst>
                <a:tab pos="61264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57112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71408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599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8" r:id="rId3"/>
    <p:sldLayoutId id="2147483709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365001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325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68345"/>
            <a:ext cx="8065294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.11.2017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982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896112" rtl="0" eaLnBrk="1" latinLnBrk="0" hangingPunct="1">
        <a:spcBef>
          <a:spcPct val="0"/>
        </a:spcBef>
        <a:buNone/>
        <a:defRPr sz="43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42" indent="-336042" algn="l" defTabSz="896112" rtl="0" eaLnBrk="1" latinLnBrk="0" hangingPunct="1">
        <a:spcBef>
          <a:spcPct val="20000"/>
        </a:spcBef>
        <a:buFont typeface="Arial" pitchFamily="34" charset="0"/>
        <a:buChar char="•"/>
        <a:defRPr sz="3136" kern="1200">
          <a:solidFill>
            <a:schemeClr val="tx1"/>
          </a:solidFill>
          <a:latin typeface="+mn-lt"/>
          <a:ea typeface="+mn-ea"/>
          <a:cs typeface="+mn-cs"/>
        </a:defRPr>
      </a:lvl1pPr>
      <a:lvl2pPr marL="728091" indent="-280035" algn="l" defTabSz="896112" rtl="0" eaLnBrk="1" latinLnBrk="0" hangingPunct="1">
        <a:spcBef>
          <a:spcPct val="20000"/>
        </a:spcBef>
        <a:buFont typeface="Arial" pitchFamily="34" charset="0"/>
        <a:buChar char="–"/>
        <a:defRPr sz="2744" kern="1200">
          <a:solidFill>
            <a:schemeClr val="tx1"/>
          </a:solidFill>
          <a:latin typeface="+mn-lt"/>
          <a:ea typeface="+mn-ea"/>
          <a:cs typeface="+mn-cs"/>
        </a:defRPr>
      </a:lvl2pPr>
      <a:lvl3pPr marL="1120140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568196" indent="-224028" algn="l" defTabSz="896112" rtl="0" eaLnBrk="1" latinLnBrk="0" hangingPunct="1">
        <a:spcBef>
          <a:spcPct val="20000"/>
        </a:spcBef>
        <a:buFont typeface="Arial" pitchFamily="34" charset="0"/>
        <a:buChar char="–"/>
        <a:defRPr sz="1960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indent="-224028" algn="l" defTabSz="896112" rtl="0" eaLnBrk="1" latinLnBrk="0" hangingPunct="1">
        <a:spcBef>
          <a:spcPct val="20000"/>
        </a:spcBef>
        <a:buFont typeface="Arial" pitchFamily="34" charset="0"/>
        <a:buChar char="»"/>
        <a:defRPr sz="1960" kern="1200">
          <a:solidFill>
            <a:schemeClr val="tx1"/>
          </a:solidFill>
          <a:latin typeface="+mn-lt"/>
          <a:ea typeface="+mn-ea"/>
          <a:cs typeface="+mn-cs"/>
        </a:defRPr>
      </a:lvl5pPr>
      <a:lvl6pPr marL="2464308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4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jpeg"/><Relationship Id="rId5" Type="http://schemas.openxmlformats.org/officeDocument/2006/relationships/image" Target="../media/image60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9.gif"/><Relationship Id="rId4" Type="http://schemas.openxmlformats.org/officeDocument/2006/relationships/image" Target="../media/image68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gif"/><Relationship Id="rId2" Type="http://schemas.openxmlformats.org/officeDocument/2006/relationships/image" Target="../media/image71.gi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73.gi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13" Type="http://schemas.openxmlformats.org/officeDocument/2006/relationships/image" Target="../media/image86.jpeg"/><Relationship Id="rId3" Type="http://schemas.openxmlformats.org/officeDocument/2006/relationships/image" Target="../media/image76.jpeg"/><Relationship Id="rId7" Type="http://schemas.openxmlformats.org/officeDocument/2006/relationships/image" Target="../media/image80.jpeg"/><Relationship Id="rId12" Type="http://schemas.openxmlformats.org/officeDocument/2006/relationships/image" Target="../media/image85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79.jpeg"/><Relationship Id="rId11" Type="http://schemas.openxmlformats.org/officeDocument/2006/relationships/image" Target="../media/image84.jpeg"/><Relationship Id="rId5" Type="http://schemas.openxmlformats.org/officeDocument/2006/relationships/image" Target="../media/image78.jpeg"/><Relationship Id="rId10" Type="http://schemas.openxmlformats.org/officeDocument/2006/relationships/image" Target="../media/image83.jpeg"/><Relationship Id="rId4" Type="http://schemas.openxmlformats.org/officeDocument/2006/relationships/image" Target="../media/image77.jpeg"/><Relationship Id="rId9" Type="http://schemas.openxmlformats.org/officeDocument/2006/relationships/image" Target="../media/image82.jpeg"/><Relationship Id="rId14" Type="http://schemas.openxmlformats.org/officeDocument/2006/relationships/image" Target="../media/image8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0.jpeg"/><Relationship Id="rId7" Type="http://schemas.openxmlformats.org/officeDocument/2006/relationships/image" Target="../media/image92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91.jpeg"/><Relationship Id="rId11" Type="http://schemas.openxmlformats.org/officeDocument/2006/relationships/image" Target="../media/image96.jpeg"/><Relationship Id="rId5" Type="http://schemas.openxmlformats.org/officeDocument/2006/relationships/image" Target="../media/image90.jpeg"/><Relationship Id="rId10" Type="http://schemas.openxmlformats.org/officeDocument/2006/relationships/image" Target="../media/image95.jpeg"/><Relationship Id="rId4" Type="http://schemas.openxmlformats.org/officeDocument/2006/relationships/image" Target="../media/image89.jpeg"/><Relationship Id="rId9" Type="http://schemas.openxmlformats.org/officeDocument/2006/relationships/image" Target="../media/image9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00541" y="2456733"/>
            <a:ext cx="8150864" cy="140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130000"/>
              </a:lnSpc>
            </a:pPr>
            <a:r>
              <a:rPr lang="ru-RU" sz="3200" b="1" dirty="0">
                <a:solidFill>
                  <a:srgbClr val="003274"/>
                </a:solidFill>
              </a:rPr>
              <a:t>Система </a:t>
            </a:r>
            <a:r>
              <a:rPr lang="ru-RU" sz="3200" b="1" dirty="0" smtClean="0">
                <a:solidFill>
                  <a:srgbClr val="003274"/>
                </a:solidFill>
              </a:rPr>
              <a:t>5С</a:t>
            </a:r>
            <a:endParaRPr lang="ru-RU" sz="3200" b="1" dirty="0">
              <a:solidFill>
                <a:srgbClr val="003274"/>
              </a:solidFill>
            </a:endParaRPr>
          </a:p>
        </p:txBody>
      </p:sp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2232" y="6597003"/>
            <a:ext cx="62232" cy="62236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89592" tIns="44797" rIns="89592" bIns="44797" anchor="ctr"/>
          <a:lstStyle/>
          <a:p>
            <a:endParaRPr lang="ru-RU" sz="1800">
              <a:solidFill>
                <a:srgbClr val="414142"/>
              </a:solidFill>
            </a:endParaRPr>
          </a:p>
        </p:txBody>
      </p:sp>
      <p:pic>
        <p:nvPicPr>
          <p:cNvPr id="3078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8260" y="160258"/>
            <a:ext cx="1684937" cy="1177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916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9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44462" y="1358860"/>
            <a:ext cx="86868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dirty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Проблемы, связанные с нерациональным размещением </a:t>
            </a:r>
            <a:r>
              <a:rPr lang="ru-RU" sz="2600" dirty="0" smtClean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инструментов, предметов </a:t>
            </a:r>
            <a:r>
              <a:rPr lang="ru-RU" sz="2600" dirty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и </a:t>
            </a:r>
            <a:r>
              <a:rPr lang="ru-RU" sz="2600" dirty="0" smtClean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документации</a:t>
            </a:r>
            <a:endParaRPr lang="ru-RU" sz="2600" dirty="0">
              <a:solidFill>
                <a:srgbClr val="1C436A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40191" y="2404608"/>
            <a:ext cx="8169208" cy="1228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Долгий поиск, потеря времени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Утеря, просрочена работа, документации/информации</a:t>
            </a:r>
            <a:endParaRPr lang="ru-RU" sz="2000" dirty="0">
              <a:solidFill>
                <a:srgbClr val="00206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Закончились расходные материалы, не привезены вовремя</a:t>
            </a:r>
            <a:endParaRPr lang="ru-RU" sz="2000" dirty="0">
              <a:solidFill>
                <a:srgbClr val="00206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264699" y="3847468"/>
            <a:ext cx="8569325" cy="233910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Цель рационального размещения</a:t>
            </a:r>
          </a:p>
          <a:p>
            <a:pPr algn="ctr" eaLnBrk="0" hangingPunct="0">
              <a:defRPr/>
            </a:pPr>
            <a:r>
              <a:rPr lang="ru-RU" sz="3800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Любой </a:t>
            </a:r>
            <a:r>
              <a:rPr lang="ru-RU" sz="3800" dirty="0" smtClean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инструмент, документ </a:t>
            </a:r>
            <a:r>
              <a:rPr lang="ru-RU" sz="3800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и предмет </a:t>
            </a:r>
            <a:r>
              <a:rPr lang="ru-RU" sz="3800" dirty="0" smtClean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должен быть найден как можно быстрее.*</a:t>
            </a:r>
            <a:endParaRPr lang="ru-RU" sz="3800" dirty="0">
              <a:solidFill>
                <a:schemeClr val="bg1"/>
              </a:solidFill>
              <a:latin typeface="+mn-lt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*Не только владельцем документа</a:t>
            </a:r>
            <a:r>
              <a:rPr lang="en-US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/ предмета, но и любым сотрудником.</a:t>
            </a:r>
            <a:r>
              <a:rPr lang="ru-RU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16956" y="987792"/>
            <a:ext cx="4924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 dirty="0" smtClean="0">
                <a:solidFill>
                  <a:srgbClr val="FF0000"/>
                </a:solidFill>
              </a:rPr>
              <a:t>!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244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463" y="3636945"/>
            <a:ext cx="3501988" cy="262649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955" y="988738"/>
            <a:ext cx="3510057" cy="263254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05" y="3621281"/>
            <a:ext cx="3510057" cy="263254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05" y="970210"/>
            <a:ext cx="3510057" cy="263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500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9" name="Объект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30"/>
          <a:stretch/>
        </p:blipFill>
        <p:spPr>
          <a:xfrm>
            <a:off x="5284375" y="1117600"/>
            <a:ext cx="3294899" cy="4787900"/>
          </a:xfrm>
          <a:prstGeom prst="rect">
            <a:avLst/>
          </a:prstGeom>
        </p:spPr>
      </p:pic>
      <p:pic>
        <p:nvPicPr>
          <p:cNvPr id="10" name="Рисунок 9" descr="D:\Мои документы\Бережливое производство\Фото ПСР\PC050088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17600"/>
            <a:ext cx="4087688" cy="4787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78019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174287" y="315505"/>
            <a:ext cx="6678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визуализация правила второго шаг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44462" y="950905"/>
            <a:ext cx="2658883" cy="1672737"/>
            <a:chOff x="1961234" y="623037"/>
            <a:chExt cx="2658883" cy="1672737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10" t="8020" r="4483"/>
            <a:stretch/>
          </p:blipFill>
          <p:spPr>
            <a:xfrm>
              <a:off x="1961234" y="699178"/>
              <a:ext cx="2658883" cy="1563141"/>
            </a:xfrm>
            <a:prstGeom prst="rect">
              <a:avLst/>
            </a:prstGeom>
          </p:spPr>
        </p:pic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2363484" y="623037"/>
              <a:ext cx="1529553" cy="1672737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2204691" y="872986"/>
              <a:ext cx="2171971" cy="1111548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/>
          <p:cNvGrpSpPr/>
          <p:nvPr/>
        </p:nvGrpSpPr>
        <p:grpSpPr>
          <a:xfrm>
            <a:off x="2916430" y="1027046"/>
            <a:ext cx="2094802" cy="1596596"/>
            <a:chOff x="2999716" y="1027046"/>
            <a:chExt cx="2011515" cy="1508637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9716" y="1027046"/>
              <a:ext cx="2011515" cy="1508637"/>
            </a:xfrm>
            <a:prstGeom prst="rect">
              <a:avLst/>
            </a:prstGeom>
          </p:spPr>
        </p:pic>
        <p:sp>
          <p:nvSpPr>
            <p:cNvPr id="17" name="Улыбающееся лицо 16"/>
            <p:cNvSpPr/>
            <p:nvPr/>
          </p:nvSpPr>
          <p:spPr>
            <a:xfrm>
              <a:off x="3012800" y="1039982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236775" y="2636283"/>
            <a:ext cx="1996889" cy="1497667"/>
            <a:chOff x="792175" y="2571678"/>
            <a:chExt cx="1996889" cy="1497667"/>
          </a:xfrm>
        </p:grpSpPr>
        <p:pic>
          <p:nvPicPr>
            <p:cNvPr id="16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175" y="2571678"/>
              <a:ext cx="1996889" cy="1497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Улыбающееся лицо 17"/>
            <p:cNvSpPr/>
            <p:nvPr/>
          </p:nvSpPr>
          <p:spPr>
            <a:xfrm>
              <a:off x="821636" y="2646758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59"/>
          <a:stretch/>
        </p:blipFill>
        <p:spPr>
          <a:xfrm>
            <a:off x="2476500" y="2636283"/>
            <a:ext cx="2534731" cy="1497667"/>
          </a:xfrm>
          <a:prstGeom prst="rect">
            <a:avLst/>
          </a:prstGeom>
        </p:spPr>
      </p:pic>
      <p:sp>
        <p:nvSpPr>
          <p:cNvPr id="21" name="Улыбающееся лицо 20"/>
          <p:cNvSpPr/>
          <p:nvPr/>
        </p:nvSpPr>
        <p:spPr>
          <a:xfrm>
            <a:off x="4654558" y="2711363"/>
            <a:ext cx="317585" cy="317585"/>
          </a:xfrm>
          <a:prstGeom prst="smileyFace">
            <a:avLst/>
          </a:prstGeom>
          <a:solidFill>
            <a:srgbClr val="FFFF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5024315" y="1002407"/>
            <a:ext cx="3937123" cy="52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215" tIns="33607" rIns="67215" bIns="33607" numCol="1" anchor="ctr" anchorCtr="0" compatLnSpc="1">
            <a:prstTxWarp prst="textNoShape">
              <a:avLst/>
            </a:prstTxWarp>
            <a:spAutoFit/>
          </a:bodyPr>
          <a:lstStyle/>
          <a:p>
            <a:pPr marL="210055" indent="-210055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каждый предмет имеет свой собственный «адрес»;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создание условий: то, что часто используется, </a:t>
            </a:r>
          </a:p>
          <a:p>
            <a:pPr eaLnBrk="0" hangingPunct="0"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         легче         всего достать;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место хранения должно быть точно установлено (иметь бирки, надписи)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использовать  кодирование формой и цветом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число мест (ячеек) хранения должно соответствовать числу хранимых в них предметов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безопасное складирование: тяжелые вещи – внизу; тяжелые вещи – на транспортных тележках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учет высоты хранения: предметы легче доставать, если они находятся на высоте от колена до плеча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размещение предметов должно обеспечить быстроту, легкость доступа к ним и свободу перемещения предметов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запрещается хранение инструмента навалом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 smtClean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рабочий инструмент хранят по видам и размерам. </a:t>
            </a:r>
            <a:endParaRPr lang="ru-RU" sz="1350" dirty="0" smtClean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 smtClean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определить </a:t>
            </a: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места хранения материалов и комплектующих, применить цветовую маркировку и указатели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3" name="Picture 10" descr="5S05BI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4462" y="4457398"/>
            <a:ext cx="2014402" cy="154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2284888" y="4505095"/>
            <a:ext cx="27451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FF0000"/>
                </a:solidFill>
                <a:latin typeface="Calibri"/>
              </a:rPr>
              <a:t>Беспорядок – это потери и травмы!</a:t>
            </a:r>
          </a:p>
        </p:txBody>
      </p:sp>
    </p:spTree>
    <p:extLst>
      <p:ext uri="{BB962C8B-B14F-4D97-AF65-F5344CB8AC3E}">
        <p14:creationId xmlns:p14="http://schemas.microsoft.com/office/powerpoint/2010/main" val="3956749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1" descr="5S 06bi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52749" y="2708920"/>
            <a:ext cx="121920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175296" y="997496"/>
            <a:ext cx="5659252" cy="1077218"/>
            <a:chOff x="2339752" y="1035720"/>
            <a:chExt cx="5659252" cy="1077218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1035720"/>
              <a:ext cx="5011180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pPr algn="ctr"/>
              <a:r>
                <a:rPr lang="ru-RU" dirty="0"/>
                <a:t>Шаг 3: Содержите в чистоте</a:t>
              </a:r>
            </a:p>
            <a:p>
              <a:pPr algn="ctr"/>
              <a:r>
                <a:rPr lang="ru-RU" dirty="0"/>
                <a:t>(уборка)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54236" y="1844824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1827758" y="4614576"/>
            <a:ext cx="7244017" cy="13208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endParaRPr lang="en-GB" sz="3200" b="1" u="sng" dirty="0">
              <a:solidFill>
                <a:srgbClr val="002060"/>
              </a:solidFill>
              <a:latin typeface="Garamond" pitchFamily="18" charset="0"/>
            </a:endParaRPr>
          </a:p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Создание безупречной рабочей зоны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107504" y="2196541"/>
            <a:ext cx="4833503" cy="127419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помыть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оборудование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очистить рабочее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место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выявить источники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загрязнения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устранить источники загрязнений</a:t>
            </a:r>
          </a:p>
        </p:txBody>
      </p:sp>
    </p:spTree>
    <p:extLst>
      <p:ext uri="{BB962C8B-B14F-4D97-AF65-F5344CB8AC3E}">
        <p14:creationId xmlns:p14="http://schemas.microsoft.com/office/powerpoint/2010/main" val="2343502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307962" y="1052580"/>
            <a:ext cx="8716976" cy="5096092"/>
          </a:xfrm>
          <a:prstGeom prst="rect">
            <a:avLst/>
          </a:prstGeom>
        </p:spPr>
        <p:txBody>
          <a:bodyPr/>
          <a:lstStyle>
            <a:lvl1pPr marL="177337" indent="-177337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3119" indent="-17422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38688" indent="-262894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31809" indent="-224004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31595" indent="-22400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479603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27612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75620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23629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609600" indent="-60960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24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 Unicode MS" pitchFamily="34" charset="-128"/>
              </a:rPr>
              <a:t>Меры по труднодоступным и сложным местам: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устранить труднодоступное место; 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сделать место легкодоступным;                                                                     использовать специальные приспособления для уборки.</a:t>
            </a:r>
          </a:p>
          <a:p>
            <a:pPr marL="0" indent="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ru-RU" sz="1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/>
            </a:pPr>
            <a:r>
              <a:rPr lang="ru-RU" sz="24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 Unicode MS" pitchFamily="34" charset="-128"/>
              </a:rPr>
              <a:t>Меры по источникам загрязнения:                                                    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ликвидация источника загрязнения;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локализация источника </a:t>
            </a:r>
            <a:r>
              <a:rPr lang="ru-RU" sz="2000" kern="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загрязнения, уменьшение </a:t>
            </a: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интенсивности </a:t>
            </a:r>
            <a:r>
              <a:rPr lang="ru-RU" sz="2000" kern="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загрязнения;</a:t>
            </a:r>
            <a:endParaRPr lang="ru-RU" sz="2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сокращение зоны загрязнения (распыления, разбрызгивания); повышение эффективности чистки, уборки путем совершенствования: инвентаря, моющих средств, приемов чистки/уборки.         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78368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7" name="Picture 6" descr="neuer_luefter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630129" y="3675107"/>
            <a:ext cx="4079270" cy="25042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5" descr="luefter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44462" y="3675107"/>
            <a:ext cx="4065527" cy="25042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2" descr="D:\Фото\Штурм-прорыв 85\WP_000475.jp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244461" y="1029486"/>
            <a:ext cx="4065527" cy="2507526"/>
          </a:xfrm>
          <a:prstGeom prst="rect">
            <a:avLst/>
          </a:prstGeom>
          <a:noFill/>
        </p:spPr>
      </p:pic>
      <p:pic>
        <p:nvPicPr>
          <p:cNvPr id="11" name="Picture 2" descr="D:\Фото\Штурм-прорыв 85\WP_000520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630129" y="1079500"/>
            <a:ext cx="4079270" cy="2444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087247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174287" y="315505"/>
            <a:ext cx="68161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визуализация правила третьего шага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274994" y="1490910"/>
            <a:ext cx="1823835" cy="1696204"/>
            <a:chOff x="2044067" y="696051"/>
            <a:chExt cx="1323272" cy="1235553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554"/>
            <a:stretch/>
          </p:blipFill>
          <p:spPr bwMode="auto">
            <a:xfrm>
              <a:off x="2091573" y="696051"/>
              <a:ext cx="1228260" cy="123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Прямая соединительная линия 13"/>
            <p:cNvCxnSpPr/>
            <p:nvPr/>
          </p:nvCxnSpPr>
          <p:spPr>
            <a:xfrm flipV="1">
              <a:off x="2050712" y="696051"/>
              <a:ext cx="1159666" cy="876857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2044067" y="908445"/>
              <a:ext cx="1323272" cy="917296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grpSp>
        <p:nvGrpSpPr>
          <p:cNvPr id="16" name="Группа 15"/>
          <p:cNvGrpSpPr/>
          <p:nvPr/>
        </p:nvGrpSpPr>
        <p:grpSpPr>
          <a:xfrm>
            <a:off x="2046052" y="1488538"/>
            <a:ext cx="2497654" cy="1698573"/>
            <a:chOff x="2044067" y="2018248"/>
            <a:chExt cx="1871384" cy="1103380"/>
          </a:xfrm>
        </p:grpSpPr>
        <p:pic>
          <p:nvPicPr>
            <p:cNvPr id="17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204" r="9310"/>
            <a:stretch/>
          </p:blipFill>
          <p:spPr bwMode="auto">
            <a:xfrm>
              <a:off x="2098830" y="2018248"/>
              <a:ext cx="1693241" cy="1103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2359559" y="2143327"/>
              <a:ext cx="1112344" cy="84689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2044067" y="2143327"/>
              <a:ext cx="1871384" cy="84689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pic>
        <p:nvPicPr>
          <p:cNvPr id="20" name="Picture 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2032" r="16095"/>
          <a:stretch/>
        </p:blipFill>
        <p:spPr bwMode="auto">
          <a:xfrm>
            <a:off x="6297405" y="1485135"/>
            <a:ext cx="2181194" cy="170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002" y="1490911"/>
            <a:ext cx="1223274" cy="1696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Улыбающееся лицо 21"/>
          <p:cNvSpPr/>
          <p:nvPr/>
        </p:nvSpPr>
        <p:spPr>
          <a:xfrm>
            <a:off x="4932957" y="1532320"/>
            <a:ext cx="287430" cy="297539"/>
          </a:xfrm>
          <a:prstGeom prst="smileyFace">
            <a:avLst/>
          </a:prstGeom>
          <a:solidFill>
            <a:srgbClr val="FFFF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14300" y="895613"/>
            <a:ext cx="92328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Цель шага </a:t>
            </a:r>
            <a:r>
              <a:rPr lang="ru-RU" b="1" i="1" dirty="0">
                <a:solidFill>
                  <a:srgbClr val="C00000"/>
                </a:solidFill>
                <a:latin typeface="Calibri"/>
              </a:rPr>
              <a:t>«Содержи в чистоте» </a:t>
            </a:r>
            <a:r>
              <a:rPr lang="ru-RU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– чистое рабочее место и проверка оборудования, рабочего пространства</a:t>
            </a:r>
          </a:p>
        </p:txBody>
      </p:sp>
      <p:pic>
        <p:nvPicPr>
          <p:cNvPr id="25" name="Picture 11" descr="5S 06bi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11723" y="4750279"/>
            <a:ext cx="897676" cy="1538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Прямоугольник 23"/>
          <p:cNvSpPr/>
          <p:nvPr/>
        </p:nvSpPr>
        <p:spPr>
          <a:xfrm>
            <a:off x="62987" y="3149401"/>
            <a:ext cx="8961438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00" b="1" dirty="0">
                <a:solidFill>
                  <a:prstClr val="black"/>
                </a:solidFill>
                <a:latin typeface="Calibri"/>
              </a:rPr>
              <a:t>Объекты проверки при уборке:</a:t>
            </a: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оборудова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стружки или других отходов производства, поврежденных элементов оборудования (рам, корпусов), плавное вращение, без заеданий, вращающихся механизмов (валов, рукояток)).  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вспомогательного оборудования (тех. оснастки, мерительного и режущего инструмента)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поврежденных</a:t>
            </a:r>
            <a:r>
              <a:rPr lang="ru-RU" sz="130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частей и механизмов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рабочей зоны и зоны обслуживания возле оборудова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расположение предметов и оснастки, согласно правил рационального размещения, предметов других технологических процессов, стружки или других отходов производства, поврежденных</a:t>
            </a:r>
            <a:r>
              <a:rPr lang="ru-RU" sz="130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частей и механизмов, целостность систем автоматики, гидравлики, пневмосистем и электроснабжения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Защитные огражде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наличие и исправность ограждений, отсутствие повреждений стопорных и предохранительных элементов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80214" y="5666228"/>
            <a:ext cx="66252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srgbClr val="FF0000"/>
                </a:solidFill>
                <a:latin typeface="Calibri"/>
              </a:rPr>
              <a:t>Чистота – залог здоровья и качества!</a:t>
            </a:r>
          </a:p>
        </p:txBody>
      </p:sp>
    </p:spTree>
    <p:extLst>
      <p:ext uri="{BB962C8B-B14F-4D97-AF65-F5344CB8AC3E}">
        <p14:creationId xmlns:p14="http://schemas.microsoft.com/office/powerpoint/2010/main" val="5134889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835696" y="1035596"/>
            <a:ext cx="5442015" cy="792088"/>
            <a:chOff x="2339752" y="908720"/>
            <a:chExt cx="5442015" cy="969516"/>
          </a:xfrm>
        </p:grpSpPr>
        <p:sp>
          <p:nvSpPr>
            <p:cNvPr id="8" name="TextBox 7"/>
            <p:cNvSpPr txBox="1"/>
            <p:nvPr/>
          </p:nvSpPr>
          <p:spPr>
            <a:xfrm>
              <a:off x="3205066" y="908720"/>
              <a:ext cx="4576701" cy="7157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4: Стандартизируйте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79636" y="1844824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07504" y="1916832"/>
            <a:ext cx="7030964" cy="68326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  <a:defRPr sz="2400">
                <a:solidFill>
                  <a:srgbClr val="1F497D">
                    <a:lumMod val="75000"/>
                  </a:srgbClr>
                </a:solidFill>
                <a:latin typeface="Calibri"/>
              </a:defRPr>
            </a:lvl1pPr>
          </a:lstStyle>
          <a:p>
            <a:r>
              <a:rPr lang="ru-RU" dirty="0"/>
              <a:t> обозначить места требующие особого внимания</a:t>
            </a:r>
          </a:p>
          <a:p>
            <a:r>
              <a:rPr lang="ru-RU" dirty="0"/>
              <a:t> создать </a:t>
            </a:r>
            <a:r>
              <a:rPr lang="ru-RU" dirty="0" smtClean="0"/>
              <a:t>визуализированные правила и стандарты</a:t>
            </a:r>
            <a:endParaRPr lang="ru-RU" dirty="0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408091" y="2549248"/>
            <a:ext cx="4776434" cy="10746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Поддержание хорошего </a:t>
            </a:r>
            <a:r>
              <a:rPr lang="ru-RU" sz="3200" b="1" dirty="0" smtClean="0">
                <a:solidFill>
                  <a:srgbClr val="002060"/>
                </a:solidFill>
                <a:latin typeface="Garamond" pitchFamily="18" charset="0"/>
              </a:rPr>
              <a:t>состояния </a:t>
            </a: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рабочей зоны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pic>
        <p:nvPicPr>
          <p:cNvPr id="18" name="Picture 11" descr="5S03BI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62700" y="4624998"/>
            <a:ext cx="2346226" cy="1557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3086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D:\РАБОТА\КОП в ОР ПСР\человечки 3D\вопрос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977522"/>
            <a:ext cx="1437812" cy="1917082"/>
          </a:xfrm>
          <a:prstGeom prst="rect">
            <a:avLst/>
          </a:prstGeom>
          <a:noFill/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8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7" name="Picture 8" descr="H:\eyeclone_fron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1720" y="1672078"/>
            <a:ext cx="5238750" cy="244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267892" y="1049530"/>
            <a:ext cx="6745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Почему мы принимаем визуализацию правил и стандартов?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47967" y="3857842"/>
            <a:ext cx="4043094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5400" b="1" dirty="0" smtClean="0">
                <a:solidFill>
                  <a:srgbClr val="002060"/>
                </a:solidFill>
                <a:latin typeface="Calibri"/>
              </a:rPr>
              <a:t>80% - зр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3600" b="1" dirty="0" smtClean="0">
                <a:solidFill>
                  <a:srgbClr val="002060"/>
                </a:solidFill>
                <a:latin typeface="Calibri"/>
              </a:rPr>
              <a:t>10% - слух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002060"/>
                </a:solidFill>
                <a:latin typeface="Calibri"/>
              </a:rPr>
              <a:t>6% </a:t>
            </a:r>
            <a:r>
              <a:rPr lang="ru-RU" sz="2800" b="1" dirty="0" smtClean="0">
                <a:solidFill>
                  <a:srgbClr val="002060"/>
                </a:solidFill>
                <a:latin typeface="Calibri"/>
              </a:rPr>
              <a:t>- вкус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3% </a:t>
            </a: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- осяза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002060"/>
                </a:solidFill>
                <a:latin typeface="Calibri"/>
              </a:rPr>
              <a:t>1% </a:t>
            </a:r>
            <a:r>
              <a:rPr lang="ru-RU" b="1" dirty="0" smtClean="0">
                <a:solidFill>
                  <a:srgbClr val="002060"/>
                </a:solidFill>
                <a:latin typeface="Calibri"/>
              </a:rPr>
              <a:t>- обоняние</a:t>
            </a:r>
            <a:endParaRPr lang="ru-RU" b="1" dirty="0">
              <a:solidFill>
                <a:srgbClr val="00206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754945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РАБОТА\КОП в ОР ПСР\человечки 3D\вопрос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2537770"/>
            <a:ext cx="1148887" cy="1917082"/>
          </a:xfrm>
          <a:prstGeom prst="rect">
            <a:avLst/>
          </a:prstGeom>
          <a:noFill/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01887139"/>
              </p:ext>
            </p:extLst>
          </p:nvPr>
        </p:nvGraphicFramePr>
        <p:xfrm>
          <a:off x="244461" y="950349"/>
          <a:ext cx="8464937" cy="5369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48887" y="328205"/>
            <a:ext cx="3481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Что такое система 5С?</a:t>
            </a:r>
          </a:p>
        </p:txBody>
      </p:sp>
    </p:spTree>
    <p:extLst>
      <p:ext uri="{BB962C8B-B14F-4D97-AF65-F5344CB8AC3E}">
        <p14:creationId xmlns:p14="http://schemas.microsoft.com/office/powerpoint/2010/main" val="31751587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9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8" name="Picture 4" descr="G:\фото 87 5с\IMG_3173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053056" y="970210"/>
            <a:ext cx="4868598" cy="2623890"/>
          </a:xfrm>
          <a:prstGeom prst="rect">
            <a:avLst/>
          </a:prstGeom>
          <a:noFill/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/>
          <a:srcRect l="-1" t="49420" r="29486"/>
          <a:stretch/>
        </p:blipFill>
        <p:spPr>
          <a:xfrm>
            <a:off x="135136" y="3655327"/>
            <a:ext cx="4849769" cy="26035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4361" y="3653555"/>
            <a:ext cx="3475038" cy="2605272"/>
          </a:xfrm>
          <a:prstGeom prst="rect">
            <a:avLst/>
          </a:prstGeom>
        </p:spPr>
      </p:pic>
      <p:pic>
        <p:nvPicPr>
          <p:cNvPr id="11" name="Picture 3" descr="G:\фото 87 5с\IMG_3174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24192" y="993380"/>
            <a:ext cx="3827264" cy="26007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4197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0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744" y="1878858"/>
            <a:ext cx="2448934" cy="43536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3916" y="1878858"/>
            <a:ext cx="2350114" cy="435366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268" y="1878858"/>
            <a:ext cx="2719195" cy="435366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57833" y="942874"/>
            <a:ext cx="85515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/>
              <a:t>Выработанный порядок фиксируем визуально. С первого взгляда должно быть понятно что где лежит, что есть в наличии, а что отсутствует на своем месте.</a:t>
            </a:r>
          </a:p>
        </p:txBody>
      </p:sp>
    </p:spTree>
    <p:extLst>
      <p:ext uri="{BB962C8B-B14F-4D97-AF65-F5344CB8AC3E}">
        <p14:creationId xmlns:p14="http://schemas.microsoft.com/office/powerpoint/2010/main" val="3023557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54236" y="1844824"/>
            <a:ext cx="8640960" cy="4320480"/>
            <a:chOff x="395536" y="1844824"/>
            <a:chExt cx="8640960" cy="4320480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835696" y="1124496"/>
            <a:ext cx="5380911" cy="792088"/>
            <a:chOff x="2339752" y="908720"/>
            <a:chExt cx="5380911" cy="969516"/>
          </a:xfrm>
        </p:grpSpPr>
        <p:sp>
          <p:nvSpPr>
            <p:cNvPr id="14" name="TextBox 13"/>
            <p:cNvSpPr txBox="1"/>
            <p:nvPr/>
          </p:nvSpPr>
          <p:spPr>
            <a:xfrm>
              <a:off x="3266174" y="908720"/>
              <a:ext cx="4454489" cy="7157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5: Совершенствуйте</a:t>
              </a:r>
            </a:p>
          </p:txBody>
        </p:sp>
        <p:pic>
          <p:nvPicPr>
            <p:cNvPr id="15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3973646" y="4411206"/>
            <a:ext cx="5335453" cy="193899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соблюдать дисциплин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ежедневно применять принципы </a:t>
            </a: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5С</a:t>
            </a:r>
            <a:endParaRPr lang="ru-RU" sz="20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непрерывная проверк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 соблюдения стандартов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учеба персонал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улучшение </a:t>
            </a: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разработанных 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стандартов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-237368" y="1942750"/>
            <a:ext cx="5998972" cy="8776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Следовать правилам</a:t>
            </a:r>
            <a:r>
              <a:rPr lang="ru-RU" sz="3200" b="1" dirty="0" smtClean="0">
                <a:solidFill>
                  <a:srgbClr val="002060"/>
                </a:solidFill>
                <a:latin typeface="Garamond" pitchFamily="18" charset="0"/>
              </a:rPr>
              <a:t>, совершенствовать </a:t>
            </a: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правила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pic>
        <p:nvPicPr>
          <p:cNvPr id="18" name="Picture 11" descr="5S 0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462" y="2972420"/>
            <a:ext cx="1757540" cy="188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18041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5" name="Picture 2" descr="D:\РАБОТА\КОП в ОР ПСР\человечки 3D\вопрос1.jpg"/>
          <p:cNvPicPr>
            <a:picLocks noChangeAspect="1" noChangeArrowheads="1"/>
          </p:cNvPicPr>
          <p:nvPr/>
        </p:nvPicPr>
        <p:blipFill rotWithShape="1">
          <a:blip r:embed="rId3" cstate="print"/>
          <a:srcRect l="22902" r="16032"/>
          <a:stretch/>
        </p:blipFill>
        <p:spPr bwMode="auto">
          <a:xfrm>
            <a:off x="4381500" y="2069728"/>
            <a:ext cx="4038600" cy="4127872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725984" y="1294656"/>
            <a:ext cx="71287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4000" dirty="0" smtClean="0">
                <a:solidFill>
                  <a:srgbClr val="002060"/>
                </a:solidFill>
                <a:latin typeface="Calibri"/>
              </a:rPr>
              <a:t>В чем эффект от внедрения системы 5С?</a:t>
            </a:r>
            <a:endParaRPr lang="ru-RU" sz="4000" dirty="0">
              <a:solidFill>
                <a:srgbClr val="00206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6673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592" y="8663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улучш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pic>
        <p:nvPicPr>
          <p:cNvPr id="8" name="Picture 6" descr="C:\Users\сергей\Desktop\Рисунки +анимация\Мои рисунки\constr47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5" y="4602163"/>
            <a:ext cx="14859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C:\Users\сергей\Desktop\Рисунки +анимация\Мои рисунки\constr4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29500" y="4673600"/>
            <a:ext cx="108585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0" descr="C:\Users\сергей\Desktop\Рисунки +анимация\Мои рисунки\constr43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86188" y="4370388"/>
            <a:ext cx="1428750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1115616" y="14423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ЕЗОПАСНОСТЬ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15616" y="2018432"/>
            <a:ext cx="6768752" cy="230425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лучшение санитарно-гигиенических условий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странение причин аварий, пожаров, несчастных случаев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шение дисциплинированности персонала  в соблюдении правил и инструкций по охране труд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хранность информации</a:t>
            </a:r>
          </a:p>
        </p:txBody>
      </p:sp>
    </p:spTree>
    <p:extLst>
      <p:ext uri="{BB962C8B-B14F-4D97-AF65-F5344CB8AC3E}">
        <p14:creationId xmlns:p14="http://schemas.microsoft.com/office/powerpoint/2010/main" val="3908917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592" y="9425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улучш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15616" y="15947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ЧЕСТВО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115616" y="2170832"/>
            <a:ext cx="6768752" cy="302433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кратить потери от брака обусловленного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загрязнением производственной среды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евниманием персонала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еисправностью оборудования и контрольно-измерительных приборов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Организация производственного процесса, обеспечивающего требуемый уровень качества</a:t>
            </a:r>
          </a:p>
        </p:txBody>
      </p:sp>
      <p:pic>
        <p:nvPicPr>
          <p:cNvPr id="10" name="Picture 8" descr="C:\Users\сергей\Desktop\Рисунки +анимация\Мои рисунки\constr1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214938"/>
            <a:ext cx="928687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5303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C:\Users\сергей\Desktop\Рисунки +анимация\Мои рисунки\b35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1394" y="5013176"/>
            <a:ext cx="1966912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1" descr="C:\Users\сергей\Desktop\Рисунки +анимация\Мои рисунки\constr40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7589838" y="4686447"/>
            <a:ext cx="13716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C:\Users\сергей\Desktop\Рисунки +анимация\Мои рисунки\constr22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462" y="4661768"/>
            <a:ext cx="12954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99592" y="8790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повыс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15616" y="14169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ИЗВОДИТЕЛЬНОСТ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15616" y="1967632"/>
            <a:ext cx="6768752" cy="302433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ократить ненужные запасы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Эффективно использовать рабочие мест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редотвращение потерь и поиска нужных предметов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лучшить организацию труд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сить ответственность персонал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тивировать персонал на производительный труд</a:t>
            </a:r>
          </a:p>
        </p:txBody>
      </p:sp>
    </p:spTree>
    <p:extLst>
      <p:ext uri="{BB962C8B-B14F-4D97-AF65-F5344CB8AC3E}">
        <p14:creationId xmlns:p14="http://schemas.microsoft.com/office/powerpoint/2010/main" val="1376591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791580" y="279307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В чем эффект от внедрения системы 5С?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5400" y="1074068"/>
            <a:ext cx="8964488" cy="5063308"/>
            <a:chOff x="0" y="1340768"/>
            <a:chExt cx="8964488" cy="5063308"/>
          </a:xfrm>
        </p:grpSpPr>
        <p:sp>
          <p:nvSpPr>
            <p:cNvPr id="9" name="Равнобедренный треугольник 8"/>
            <p:cNvSpPr/>
            <p:nvPr/>
          </p:nvSpPr>
          <p:spPr>
            <a:xfrm>
              <a:off x="1475656" y="1988840"/>
              <a:ext cx="5544616" cy="3960440"/>
            </a:xfrm>
            <a:prstGeom prst="triangle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АБИЛЬНОСТЬ</a:t>
              </a:r>
            </a:p>
          </p:txBody>
        </p:sp>
        <p:sp>
          <p:nvSpPr>
            <p:cNvPr id="10" name="Овал 9"/>
            <p:cNvSpPr/>
            <p:nvPr/>
          </p:nvSpPr>
          <p:spPr>
            <a:xfrm>
              <a:off x="1348079" y="5806795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Овал 10"/>
            <p:cNvSpPr/>
            <p:nvPr/>
          </p:nvSpPr>
          <p:spPr>
            <a:xfrm>
              <a:off x="6931825" y="5805264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Овал 11"/>
            <p:cNvSpPr/>
            <p:nvPr/>
          </p:nvSpPr>
          <p:spPr>
            <a:xfrm>
              <a:off x="4139952" y="1844824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987824" y="1340768"/>
              <a:ext cx="25922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Безопасность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0" y="5880856"/>
              <a:ext cx="25922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Качество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220072" y="5865452"/>
              <a:ext cx="3744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Производительност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9623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8987" y="2993210"/>
            <a:ext cx="51836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5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898162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DSCN2909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6486093" y="3825326"/>
            <a:ext cx="1458454" cy="1093841"/>
          </a:xfrm>
          <a:prstGeom prst="rect">
            <a:avLst/>
          </a:prstGeom>
        </p:spPr>
      </p:pic>
      <p:pic>
        <p:nvPicPr>
          <p:cNvPr id="4" name="Рисунок 3" descr="DSCN2900.JPG"/>
          <p:cNvPicPr>
            <a:picLocks noChangeAspect="1"/>
          </p:cNvPicPr>
          <p:nvPr/>
        </p:nvPicPr>
        <p:blipFill>
          <a:blip r:embed="rId3" cstate="print"/>
          <a:srcRect t="15920"/>
          <a:stretch>
            <a:fillRect/>
          </a:stretch>
        </p:blipFill>
        <p:spPr>
          <a:xfrm>
            <a:off x="2081328" y="537923"/>
            <a:ext cx="4924056" cy="3105095"/>
          </a:xfrm>
          <a:prstGeom prst="rect">
            <a:avLst/>
          </a:prstGeom>
        </p:spPr>
      </p:pic>
      <p:pic>
        <p:nvPicPr>
          <p:cNvPr id="6" name="Рисунок 5" descr="DSCN2903.JPG"/>
          <p:cNvPicPr>
            <a:picLocks noChangeAspect="1"/>
          </p:cNvPicPr>
          <p:nvPr/>
        </p:nvPicPr>
        <p:blipFill>
          <a:blip r:embed="rId4" cstate="print"/>
          <a:srcRect l="9838" t="8001" r="6688" b="12200"/>
          <a:stretch>
            <a:fillRect/>
          </a:stretch>
        </p:blipFill>
        <p:spPr>
          <a:xfrm rot="16200000">
            <a:off x="7469879" y="3606599"/>
            <a:ext cx="1737421" cy="1245698"/>
          </a:xfrm>
          <a:prstGeom prst="rect">
            <a:avLst/>
          </a:prstGeom>
        </p:spPr>
      </p:pic>
      <p:pic>
        <p:nvPicPr>
          <p:cNvPr id="8" name="Рисунок 7" descr="DSCN2905.JPG"/>
          <p:cNvPicPr>
            <a:picLocks noChangeAspect="1"/>
          </p:cNvPicPr>
          <p:nvPr/>
        </p:nvPicPr>
        <p:blipFill>
          <a:blip r:embed="rId5" cstate="print"/>
          <a:srcRect l="3538" t="8001" r="4326" b="17450"/>
          <a:stretch>
            <a:fillRect/>
          </a:stretch>
        </p:blipFill>
        <p:spPr>
          <a:xfrm rot="5400000">
            <a:off x="-376706" y="4266224"/>
            <a:ext cx="2093255" cy="1270266"/>
          </a:xfrm>
          <a:prstGeom prst="rect">
            <a:avLst/>
          </a:prstGeom>
        </p:spPr>
      </p:pic>
      <p:pic>
        <p:nvPicPr>
          <p:cNvPr id="13" name="Рисунок 12" descr="DSCN2907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5400000">
            <a:off x="6927633" y="828468"/>
            <a:ext cx="2324348" cy="174326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923840" y="2866745"/>
            <a:ext cx="2151898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Документы хранятся в соответствии с обозначениям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73757" y="5124996"/>
            <a:ext cx="2187681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авила работы с документами соблюдаютс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10757" y="3149026"/>
            <a:ext cx="5010494" cy="512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white"/>
                </a:solidFill>
                <a:latin typeface="Calibri"/>
              </a:rPr>
              <a:t>На рабочих поверхностях отсутствует пыль, мусор, не нужные предмет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33266" y="5760128"/>
            <a:ext cx="2187681" cy="58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едметы находятся на  своих местах, ящики рабочей тумбочки не захламлены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6042411"/>
            <a:ext cx="2187681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Место хранения уборочного инвентаря визуализировано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28476" y="-35746"/>
            <a:ext cx="5450384" cy="361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764" b="1" dirty="0">
                <a:solidFill>
                  <a:srgbClr val="1F497D"/>
                </a:solidFill>
                <a:latin typeface="Calibri"/>
              </a:rPr>
              <a:t>Стандарт организации рабочего места </a:t>
            </a:r>
          </a:p>
        </p:txBody>
      </p:sp>
      <p:pic>
        <p:nvPicPr>
          <p:cNvPr id="22" name="Рисунок 21" descr="DSCN2900.JPG"/>
          <p:cNvPicPr>
            <a:picLocks noChangeAspect="1"/>
          </p:cNvPicPr>
          <p:nvPr/>
        </p:nvPicPr>
        <p:blipFill>
          <a:blip r:embed="rId7" cstate="print"/>
          <a:srcRect l="24364" t="54138" r="67037" b="24842"/>
          <a:stretch>
            <a:fillRect/>
          </a:stretch>
        </p:blipFill>
        <p:spPr>
          <a:xfrm>
            <a:off x="952202" y="185072"/>
            <a:ext cx="500408" cy="917414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0" y="968740"/>
            <a:ext cx="2187681" cy="2744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srgbClr val="0070C0"/>
                </a:solidFill>
                <a:latin typeface="Calibri"/>
              </a:rPr>
              <a:t>Мои правил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1. Ежедневно за 10 минут до конца рабочего дня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 удалить из рабочей зоны лишние предметы, черновики, документы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Отсортировать  документы по местам постоянного хранен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2. Каждую пятницу за 1 час до конца рабочего дня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одшить оригиналы документов в дела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отереть пыль с рабочих поверхностей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овести перекрестный аудит в отделе</a:t>
            </a:r>
          </a:p>
        </p:txBody>
      </p:sp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8" cstate="print"/>
          <a:srcRect l="32105" t="24667" r="37368" b="27459"/>
          <a:stretch>
            <a:fillRect/>
          </a:stretch>
        </p:blipFill>
        <p:spPr bwMode="auto">
          <a:xfrm>
            <a:off x="105358" y="198"/>
            <a:ext cx="746363" cy="949040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25" name="TextBox 24"/>
          <p:cNvSpPr txBox="1"/>
          <p:nvPr/>
        </p:nvSpPr>
        <p:spPr>
          <a:xfrm>
            <a:off x="2857601" y="255643"/>
            <a:ext cx="3316806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black"/>
                </a:solidFill>
                <a:latin typeface="Calibri"/>
              </a:rPr>
              <a:t>Рабочее место после </a:t>
            </a:r>
            <a:r>
              <a:rPr lang="ru-RU" sz="1372" b="1" dirty="0" err="1">
                <a:solidFill>
                  <a:prstClr val="black"/>
                </a:solidFill>
                <a:latin typeface="Calibri"/>
              </a:rPr>
              <a:t>десятиминутки</a:t>
            </a:r>
            <a:r>
              <a:rPr lang="ru-RU" sz="1372" b="1" dirty="0">
                <a:solidFill>
                  <a:prstClr val="black"/>
                </a:solidFill>
                <a:latin typeface="Calibri"/>
              </a:rPr>
              <a:t> 5С</a:t>
            </a:r>
          </a:p>
        </p:txBody>
      </p:sp>
      <p:pic>
        <p:nvPicPr>
          <p:cNvPr id="1026" name="Picture 2" descr="C:\Documents and Settings\myakotin_pl\Рабочий стол\стандарты фото\DSCN295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5400000">
            <a:off x="5292241" y="3890052"/>
            <a:ext cx="1411480" cy="1058555"/>
          </a:xfrm>
          <a:prstGeom prst="rect">
            <a:avLst/>
          </a:prstGeom>
          <a:noFill/>
        </p:spPr>
      </p:pic>
      <p:pic>
        <p:nvPicPr>
          <p:cNvPr id="1027" name="Picture 3" descr="C:\Documents and Settings\myakotin_pl\Рабочий стол\стандарты фото\DSCN295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57298" y="3713589"/>
            <a:ext cx="1411480" cy="1058555"/>
          </a:xfrm>
          <a:prstGeom prst="rect">
            <a:avLst/>
          </a:prstGeom>
          <a:noFill/>
        </p:spPr>
      </p:pic>
      <p:pic>
        <p:nvPicPr>
          <p:cNvPr id="1028" name="Picture 4" descr="C:\Documents and Settings\myakotin_pl\Рабочий стол\стандарты фото\DSCN2959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845587" y="4419292"/>
            <a:ext cx="1411480" cy="1058555"/>
          </a:xfrm>
          <a:prstGeom prst="rect">
            <a:avLst/>
          </a:prstGeom>
          <a:noFill/>
        </p:spPr>
      </p:pic>
      <p:pic>
        <p:nvPicPr>
          <p:cNvPr id="1029" name="Picture 5" descr="C:\Documents and Settings\myakotin_pl\Рабочий стол\стандарты фото\DSCN296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04446" y="5195566"/>
            <a:ext cx="1411480" cy="1058555"/>
          </a:xfrm>
          <a:prstGeom prst="rect">
            <a:avLst/>
          </a:prstGeom>
          <a:noFill/>
        </p:spPr>
      </p:pic>
      <p:pic>
        <p:nvPicPr>
          <p:cNvPr id="1030" name="Picture 6" descr="C:\Documents and Settings\myakotin_pl\Рабочий стол\стандарты фото\DSCN296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51290" y="5662721"/>
            <a:ext cx="1411480" cy="1058555"/>
          </a:xfrm>
          <a:prstGeom prst="rect">
            <a:avLst/>
          </a:prstGeom>
          <a:noFill/>
        </p:spPr>
      </p:pic>
      <p:pic>
        <p:nvPicPr>
          <p:cNvPr id="1031" name="Picture 7" descr="C:\Documents and Settings\myakotin_pl\Рабочий стол\стандарты фото\DSCN2962.JPG"/>
          <p:cNvPicPr>
            <a:picLocks noChangeAspect="1" noChangeArrowheads="1"/>
          </p:cNvPicPr>
          <p:nvPr/>
        </p:nvPicPr>
        <p:blipFill>
          <a:blip r:embed="rId14" cstate="print"/>
          <a:srcRect t="12122"/>
          <a:stretch>
            <a:fillRect/>
          </a:stretch>
        </p:blipFill>
        <p:spPr bwMode="auto">
          <a:xfrm>
            <a:off x="1446194" y="3713589"/>
            <a:ext cx="2328821" cy="1534813"/>
          </a:xfrm>
          <a:prstGeom prst="rect">
            <a:avLst/>
          </a:prstGeom>
          <a:noFill/>
        </p:spPr>
      </p:pic>
      <p:cxnSp>
        <p:nvCxnSpPr>
          <p:cNvPr id="27" name="Прямая со стрелкой 26"/>
          <p:cNvCxnSpPr/>
          <p:nvPr/>
        </p:nvCxnSpPr>
        <p:spPr>
          <a:xfrm flipV="1">
            <a:off x="5045282" y="3995870"/>
            <a:ext cx="493992" cy="14114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4904141" y="4278151"/>
            <a:ext cx="705703" cy="42342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V="1">
            <a:off x="4904141" y="4631003"/>
            <a:ext cx="776274" cy="77627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5186422" y="4913284"/>
            <a:ext cx="635133" cy="11996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375624" y="5336706"/>
            <a:ext cx="2258251" cy="58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од рабочим столом отсутствует  мусор, грязь. Провода уложены и не создают помех пользователю</a:t>
            </a:r>
          </a:p>
        </p:txBody>
      </p:sp>
    </p:spTree>
    <p:extLst>
      <p:ext uri="{BB962C8B-B14F-4D97-AF65-F5344CB8AC3E}">
        <p14:creationId xmlns:p14="http://schemas.microsoft.com/office/powerpoint/2010/main" val="403052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38379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ять простых принципов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854062" y="1235205"/>
            <a:ext cx="8464937" cy="4831636"/>
            <a:chOff x="307962" y="1222505"/>
            <a:chExt cx="8464937" cy="4831636"/>
          </a:xfrm>
        </p:grpSpPr>
        <p:sp>
          <p:nvSpPr>
            <p:cNvPr id="13" name="Трапеция 12"/>
            <p:cNvSpPr/>
            <p:nvPr/>
          </p:nvSpPr>
          <p:spPr>
            <a:xfrm rot="16200000">
              <a:off x="2173752" y="2398421"/>
              <a:ext cx="1358694" cy="463140"/>
            </a:xfrm>
            <a:prstGeom prst="trapezoid">
              <a:avLst>
                <a:gd name="adj" fmla="val 85519"/>
              </a:avLst>
            </a:prstGeom>
            <a:solidFill>
              <a:srgbClr val="00B0F0">
                <a:alpha val="2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4" name="Трапеция 13"/>
            <p:cNvSpPr/>
            <p:nvPr/>
          </p:nvSpPr>
          <p:spPr>
            <a:xfrm rot="16200000">
              <a:off x="2417142" y="3708832"/>
              <a:ext cx="871914" cy="463138"/>
            </a:xfrm>
            <a:prstGeom prst="trapezoid">
              <a:avLst>
                <a:gd name="adj" fmla="val 41453"/>
              </a:avLst>
            </a:prstGeom>
            <a:solidFill>
              <a:srgbClr val="00B0F0">
                <a:alpha val="3960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5" name="Трапеция 14"/>
            <p:cNvSpPr/>
            <p:nvPr/>
          </p:nvSpPr>
          <p:spPr>
            <a:xfrm rot="16200000">
              <a:off x="2540840" y="4509761"/>
              <a:ext cx="624518" cy="463138"/>
            </a:xfrm>
            <a:prstGeom prst="trapezoid">
              <a:avLst/>
            </a:prstGeom>
            <a:solidFill>
              <a:srgbClr val="00B0F0">
                <a:alpha val="5529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6" name="Трапеция 15"/>
            <p:cNvSpPr/>
            <p:nvPr/>
          </p:nvSpPr>
          <p:spPr>
            <a:xfrm rot="16200000">
              <a:off x="2523895" y="5475893"/>
              <a:ext cx="624518" cy="463138"/>
            </a:xfrm>
            <a:prstGeom prst="trapezoid">
              <a:avLst/>
            </a:prstGeom>
            <a:solidFill>
              <a:srgbClr val="00B0F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084667" y="1226808"/>
              <a:ext cx="5170333" cy="620214"/>
            </a:xfrm>
            <a:prstGeom prst="rect">
              <a:avLst/>
            </a:prstGeom>
            <a:solidFill>
              <a:srgbClr val="00B0F0">
                <a:alpha val="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3084667" y="1950645"/>
              <a:ext cx="5170333" cy="1358694"/>
            </a:xfrm>
            <a:prstGeom prst="rect">
              <a:avLst/>
            </a:prstGeom>
            <a:solidFill>
              <a:srgbClr val="00B0F0">
                <a:alpha val="2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084667" y="3508745"/>
              <a:ext cx="5170333" cy="865905"/>
            </a:xfrm>
            <a:prstGeom prst="rect">
              <a:avLst/>
            </a:prstGeom>
            <a:solidFill>
              <a:srgbClr val="00B0F0">
                <a:alpha val="3960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084667" y="4433374"/>
              <a:ext cx="5170333" cy="620214"/>
            </a:xfrm>
            <a:prstGeom prst="rect">
              <a:avLst/>
            </a:prstGeom>
            <a:solidFill>
              <a:srgbClr val="00B0F0">
                <a:alpha val="5451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067722" y="5399506"/>
              <a:ext cx="5187278" cy="620214"/>
            </a:xfrm>
            <a:prstGeom prst="rect">
              <a:avLst/>
            </a:prstGeom>
            <a:solidFill>
              <a:srgbClr val="00B0F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46794" y="1248803"/>
              <a:ext cx="2259943" cy="598220"/>
            </a:xfrm>
            <a:prstGeom prst="roundRect">
              <a:avLst/>
            </a:prstGeom>
            <a:solidFill>
              <a:srgbClr val="00B0F0">
                <a:alpha val="9804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ртир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325958" y="2312305"/>
              <a:ext cx="2280779" cy="598220"/>
            </a:xfrm>
            <a:prstGeom prst="roundRect">
              <a:avLst/>
            </a:prstGeom>
            <a:solidFill>
              <a:srgbClr val="00B0F0">
                <a:alpha val="24706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блюдайте порядок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333811" y="3635747"/>
              <a:ext cx="2285908" cy="598220"/>
            </a:xfrm>
            <a:prstGeom prst="roundRect">
              <a:avLst/>
            </a:prstGeom>
            <a:solidFill>
              <a:srgbClr val="00B0F0">
                <a:alpha val="40000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держите в чисто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320829" y="4433373"/>
              <a:ext cx="2285908" cy="598220"/>
            </a:xfrm>
            <a:prstGeom prst="roundRect">
              <a:avLst/>
            </a:prstGeom>
            <a:solidFill>
              <a:srgbClr val="00B0F0">
                <a:alpha val="54902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тандартизир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307962" y="5421500"/>
              <a:ext cx="2298775" cy="598220"/>
            </a:xfrm>
            <a:prstGeom prst="roundRect">
              <a:avLst/>
            </a:prstGeom>
            <a:solidFill>
              <a:srgbClr val="00B0F0">
                <a:alpha val="70588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вершенств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271310" y="1377452"/>
              <a:ext cx="3579570" cy="348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Избавьтесь от всего </a:t>
              </a:r>
              <a:r>
                <a:rPr lang="ru-RU" sz="1662" dirty="0" smtClean="0">
                  <a:solidFill>
                    <a:srgbClr val="002060"/>
                  </a:solidFill>
                </a:rPr>
                <a:t>ненужного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271310" y="1914394"/>
              <a:ext cx="3872920" cy="1626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наименование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количество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место расположения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цветовую маркировку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маршрут</a:t>
              </a:r>
            </a:p>
            <a:p>
              <a:pPr marL="263776" indent="-263776">
                <a:buFont typeface="Arial" charset="0"/>
                <a:buChar char="•"/>
              </a:pP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71311" y="3535796"/>
              <a:ext cx="4983690" cy="859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одержите рабочее место в чистоте, в исправном, подготовленном к работе состоянии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271310" y="4435023"/>
              <a:ext cx="4983690" cy="603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тандартизируйте процедуры поддержания порядка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271310" y="5450258"/>
              <a:ext cx="5501589" cy="603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овершенствуйте порядок, стимулируйте его поддержани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2" name="Трапеция 31"/>
            <p:cNvSpPr/>
            <p:nvPr/>
          </p:nvSpPr>
          <p:spPr>
            <a:xfrm rot="16200000">
              <a:off x="2540840" y="1303195"/>
              <a:ext cx="624518" cy="463138"/>
            </a:xfrm>
            <a:prstGeom prst="trapezoid">
              <a:avLst/>
            </a:prstGeom>
            <a:solidFill>
              <a:srgbClr val="00B0F0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256078" y="1301986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/>
              <a:t>1</a:t>
            </a:r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256078" y="238236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/>
              <a:t>2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76298" y="3716724"/>
            <a:ext cx="315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3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56077" y="452319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/>
              <a:t>4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73024" y="5484322"/>
            <a:ext cx="315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335549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DSCN2916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75320" y="749635"/>
            <a:ext cx="4234220" cy="317566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38970" y="3644157"/>
            <a:ext cx="2328821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Документы хранятся в соответствии с обозначениям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44977" y="6112981"/>
            <a:ext cx="2611103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Правила работы с журналам движения продукции соблюдаютс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16461" y="3290167"/>
            <a:ext cx="4022509" cy="512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white"/>
                </a:solidFill>
                <a:latin typeface="Calibri"/>
              </a:rPr>
              <a:t>На рабочих поверхностях мебели, орг.техники отсутствует пыль, мусор, не нужные предмет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51898" y="5972978"/>
            <a:ext cx="2187681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Предметы, документы находятся на  своих местах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641438" y="199"/>
            <a:ext cx="5450384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srgbClr val="1F497D"/>
                </a:solidFill>
                <a:latin typeface="Calibri"/>
              </a:rPr>
              <a:t>Стандарт организации рабочего места начальников смен цеха </a:t>
            </a:r>
            <a:r>
              <a:rPr lang="ru-RU" sz="1372" b="1" dirty="0" smtClean="0">
                <a:solidFill>
                  <a:srgbClr val="1F497D"/>
                </a:solidFill>
                <a:latin typeface="Calibri"/>
              </a:rPr>
              <a:t>№___ </a:t>
            </a:r>
            <a:endParaRPr lang="ru-RU" sz="1372" b="1" dirty="0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22" name="Рисунок 21" descr="DSCN2900.JPG"/>
          <p:cNvPicPr>
            <a:picLocks noChangeAspect="1"/>
          </p:cNvPicPr>
          <p:nvPr/>
        </p:nvPicPr>
        <p:blipFill>
          <a:blip r:embed="rId3" cstate="print"/>
          <a:srcRect l="24364" t="54138" r="67037" b="24842"/>
          <a:stretch>
            <a:fillRect/>
          </a:stretch>
        </p:blipFill>
        <p:spPr>
          <a:xfrm>
            <a:off x="976579" y="125950"/>
            <a:ext cx="461915" cy="846844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0" y="968740"/>
            <a:ext cx="2293038" cy="1915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srgbClr val="0070C0"/>
                </a:solidFill>
                <a:latin typeface="Calibri"/>
              </a:rPr>
              <a:t>ПРАВИЛО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1. </a:t>
            </a:r>
            <a:r>
              <a:rPr lang="ru-RU" sz="1078" b="1" dirty="0" err="1">
                <a:solidFill>
                  <a:prstClr val="black"/>
                </a:solidFill>
                <a:latin typeface="Calibri"/>
              </a:rPr>
              <a:t>Ежесменно</a:t>
            </a:r>
            <a:r>
              <a:rPr lang="ru-RU" sz="1078" b="1" dirty="0">
                <a:solidFill>
                  <a:prstClr val="black"/>
                </a:solidFill>
                <a:latin typeface="Calibri"/>
              </a:rPr>
              <a:t> за 10 минут до конца рабочей смены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 удалить из рабочей зоны лишние предметы, черновики, документы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Отсортировать  документы, журналы по местам постоянного хранен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2. </a:t>
            </a:r>
            <a:r>
              <a:rPr lang="ru-RU" sz="1078" b="1" dirty="0" err="1">
                <a:solidFill>
                  <a:prstClr val="black"/>
                </a:solidFill>
                <a:latin typeface="Calibri"/>
              </a:rPr>
              <a:t>Ежесменно</a:t>
            </a:r>
            <a:r>
              <a:rPr lang="ru-RU" sz="1078" b="1" dirty="0">
                <a:solidFill>
                  <a:prstClr val="black"/>
                </a:solidFill>
                <a:latin typeface="Calibri"/>
              </a:rPr>
              <a:t> проводить аудит по 5С при приемке смены (с отметкой в графике аудитов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857601" y="467353"/>
            <a:ext cx="3316806" cy="271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Рабочее место при приеме – передаче см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02365" y="198"/>
            <a:ext cx="2778325" cy="725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black"/>
                </a:solidFill>
                <a:latin typeface="Calibri"/>
              </a:rPr>
              <a:t>	Утверждаю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dirty="0">
                <a:solidFill>
                  <a:prstClr val="black"/>
                </a:solidFill>
                <a:latin typeface="Calibri"/>
              </a:rPr>
              <a:t>	Начальник цеха </a:t>
            </a:r>
            <a:r>
              <a:rPr lang="ru-RU" sz="1372" dirty="0" smtClean="0">
                <a:solidFill>
                  <a:prstClr val="black"/>
                </a:solidFill>
                <a:latin typeface="Calibri"/>
              </a:rPr>
              <a:t>№___</a:t>
            </a:r>
            <a:endParaRPr lang="ru-RU" sz="1372" dirty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dirty="0">
                <a:solidFill>
                  <a:prstClr val="black"/>
                </a:solidFill>
                <a:latin typeface="Calibri"/>
              </a:rPr>
              <a:t>	                 </a:t>
            </a:r>
            <a:r>
              <a:rPr lang="ru-RU" sz="1372" dirty="0" smtClean="0">
                <a:solidFill>
                  <a:prstClr val="black"/>
                </a:solidFill>
                <a:latin typeface="Calibri"/>
              </a:rPr>
              <a:t>___________</a:t>
            </a:r>
            <a:endParaRPr lang="ru-RU" sz="137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8" name="Рисунок 27" descr="DSCN2926.JPG"/>
          <p:cNvPicPr>
            <a:picLocks noChangeAspect="1"/>
          </p:cNvPicPr>
          <p:nvPr/>
        </p:nvPicPr>
        <p:blipFill>
          <a:blip r:embed="rId4" cstate="print"/>
          <a:srcRect l="9838" r="1963"/>
          <a:stretch>
            <a:fillRect/>
          </a:stretch>
        </p:blipFill>
        <p:spPr>
          <a:xfrm rot="5400000">
            <a:off x="31790" y="73765"/>
            <a:ext cx="983211" cy="836075"/>
          </a:xfrm>
          <a:prstGeom prst="rect">
            <a:avLst/>
          </a:prstGeom>
        </p:spPr>
      </p:pic>
      <p:pic>
        <p:nvPicPr>
          <p:cNvPr id="29" name="Рисунок 28" descr="DSCN2919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44977" y="4137011"/>
            <a:ext cx="2611103" cy="1958327"/>
          </a:xfrm>
          <a:prstGeom prst="rect">
            <a:avLst/>
          </a:prstGeom>
        </p:spPr>
      </p:pic>
      <p:pic>
        <p:nvPicPr>
          <p:cNvPr id="30" name="Рисунок 29" descr="DSCN2923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93039" y="3995870"/>
            <a:ext cx="2504749" cy="1878562"/>
          </a:xfrm>
          <a:prstGeom prst="rect">
            <a:avLst/>
          </a:prstGeom>
        </p:spPr>
      </p:pic>
      <p:pic>
        <p:nvPicPr>
          <p:cNvPr id="31" name="Рисунок 30" descr="DSCN2925.JPG"/>
          <p:cNvPicPr>
            <a:picLocks noChangeAspect="1"/>
          </p:cNvPicPr>
          <p:nvPr/>
        </p:nvPicPr>
        <p:blipFill>
          <a:blip r:embed="rId7" cstate="print"/>
          <a:srcRect t="2751" r="16925" b="4851"/>
          <a:stretch>
            <a:fillRect/>
          </a:stretch>
        </p:blipFill>
        <p:spPr>
          <a:xfrm rot="5400000">
            <a:off x="4259516" y="4855551"/>
            <a:ext cx="1857158" cy="1549202"/>
          </a:xfrm>
          <a:prstGeom prst="rect">
            <a:avLst/>
          </a:prstGeom>
        </p:spPr>
      </p:pic>
      <p:pic>
        <p:nvPicPr>
          <p:cNvPr id="32" name="Рисунок 31" descr="DSCN292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950681" y="820205"/>
            <a:ext cx="1411407" cy="1058555"/>
          </a:xfrm>
          <a:prstGeom prst="rect">
            <a:avLst/>
          </a:prstGeom>
        </p:spPr>
      </p:pic>
      <p:pic>
        <p:nvPicPr>
          <p:cNvPr id="33" name="Рисунок 32" descr="DSCN2920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397627" y="1596478"/>
            <a:ext cx="1599594" cy="1199696"/>
          </a:xfrm>
          <a:prstGeom prst="rect">
            <a:avLst/>
          </a:prstGeom>
        </p:spPr>
      </p:pic>
      <p:pic>
        <p:nvPicPr>
          <p:cNvPr id="34" name="Рисунок 33" descr="DSCN2917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 rot="5400000">
            <a:off x="-357517" y="3224262"/>
            <a:ext cx="2860141" cy="2145106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0" y="5807080"/>
            <a:ext cx="2187681" cy="633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На рабочем месте начальника смены отсутствуют ненужные предметы</a:t>
            </a:r>
          </a:p>
        </p:txBody>
      </p:sp>
      <p:pic>
        <p:nvPicPr>
          <p:cNvPr id="36" name="Рисунок 35" descr="DSCN2921.JPG"/>
          <p:cNvPicPr>
            <a:picLocks noChangeAspect="1"/>
          </p:cNvPicPr>
          <p:nvPr/>
        </p:nvPicPr>
        <p:blipFill>
          <a:blip r:embed="rId11" cstate="print"/>
          <a:srcRect l="35038" t="19550" b="17451"/>
          <a:stretch>
            <a:fillRect/>
          </a:stretch>
        </p:blipFill>
        <p:spPr>
          <a:xfrm rot="5400000">
            <a:off x="6694939" y="2487354"/>
            <a:ext cx="1358230" cy="987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69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5S02BI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35516" y="5052516"/>
            <a:ext cx="2268537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Группа 6"/>
          <p:cNvGrpSpPr/>
          <p:nvPr/>
        </p:nvGrpSpPr>
        <p:grpSpPr>
          <a:xfrm>
            <a:off x="2339752" y="1196504"/>
            <a:ext cx="4044964" cy="825500"/>
            <a:chOff x="2339752" y="764704"/>
            <a:chExt cx="4044964" cy="825500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908720"/>
              <a:ext cx="33968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320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rPr>
                <a:t>Шаг 1: Сортируйте</a:t>
              </a:r>
              <a:endParaRPr lang="ru-RU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endParaRP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H="1">
              <a:off x="2339752" y="764704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161826" y="1914798"/>
            <a:ext cx="4756150" cy="156966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тдели необходимое от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бесполезного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бозначь редко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используемое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ставь только нужное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339752" y="5064224"/>
            <a:ext cx="3888432" cy="648072"/>
          </a:xfrm>
          <a:prstGeom prst="rightArrow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далите ненужные предметы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92336" y="1400324"/>
            <a:ext cx="8640960" cy="4320480"/>
            <a:chOff x="395536" y="1400324"/>
            <a:chExt cx="8640960" cy="432048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395536" y="4856708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123728" y="39926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851920" y="31285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5580112" y="22644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308304" y="14003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6444208" y="3225442"/>
            <a:ext cx="2286000" cy="5588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/>
              <a:t>Нужно постоянно</a:t>
            </a: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6442620" y="3817580"/>
            <a:ext cx="2276475" cy="5588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 dirty="0"/>
              <a:t>Не нужно срочно</a:t>
            </a: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6444208" y="4411305"/>
            <a:ext cx="2274887" cy="595312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/>
              <a:t>Не нужно вообще</a:t>
            </a:r>
          </a:p>
        </p:txBody>
      </p:sp>
    </p:spTree>
    <p:extLst>
      <p:ext uri="{BB962C8B-B14F-4D97-AF65-F5344CB8AC3E}">
        <p14:creationId xmlns:p14="http://schemas.microsoft.com/office/powerpoint/2010/main" val="3207258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D:\Фото\Штурм-прорыв 85\WP_000448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946631" y="1029804"/>
            <a:ext cx="3946538" cy="2959904"/>
          </a:xfrm>
          <a:prstGeom prst="rect">
            <a:avLst/>
          </a:prstGeom>
          <a:noFill/>
        </p:spPr>
      </p:pic>
      <p:pic>
        <p:nvPicPr>
          <p:cNvPr id="7" name="Picture 4" descr="D:\Фото\Штурм-прорыв 85\WP_000444.jp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51114" y="1029804"/>
            <a:ext cx="3946539" cy="2959904"/>
          </a:xfrm>
          <a:prstGeom prst="rect">
            <a:avLst/>
          </a:prstGeom>
          <a:noFill/>
        </p:spPr>
      </p:pic>
      <p:pic>
        <p:nvPicPr>
          <p:cNvPr id="8" name="Picture 6" descr="D:\Фото\Штурм-прорыв 85\IMG_1234.JPG"/>
          <p:cNvPicPr>
            <a:picLocks noChangeAspect="1" noChangeArrowheads="1"/>
          </p:cNvPicPr>
          <p:nvPr/>
        </p:nvPicPr>
        <p:blipFill rotWithShape="1">
          <a:blip r:embed="rId5" cstate="email"/>
          <a:srcRect l="14763"/>
          <a:stretch/>
        </p:blipFill>
        <p:spPr bwMode="auto">
          <a:xfrm rot="5400000">
            <a:off x="6656980" y="4158570"/>
            <a:ext cx="2264616" cy="1992622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759220" y="4084929"/>
            <a:ext cx="293032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Удаление ненужного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Металлолому не место в производстве!!!</a:t>
            </a:r>
            <a:endParaRPr lang="ru-RU" sz="2400" u="sng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pic>
        <p:nvPicPr>
          <p:cNvPr id="10" name="Picture 3" descr="D:\Фото\Штурм-прорыв 85\IMG_1231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 rot="5400000">
            <a:off x="4616080" y="4150399"/>
            <a:ext cx="2465529" cy="1808052"/>
          </a:xfrm>
          <a:prstGeom prst="rect">
            <a:avLst/>
          </a:prstGeom>
          <a:noFill/>
        </p:spPr>
      </p:pic>
      <p:sp>
        <p:nvSpPr>
          <p:cNvPr id="11" name="Стрелка вниз 10"/>
          <p:cNvSpPr/>
          <p:nvPr/>
        </p:nvSpPr>
        <p:spPr>
          <a:xfrm rot="16200000">
            <a:off x="3874802" y="4660915"/>
            <a:ext cx="884761" cy="787020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18221102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D:\Фото\Штурм-прорыв 85\WP_000448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63143" y="975844"/>
            <a:ext cx="3606553" cy="2704915"/>
          </a:xfrm>
          <a:prstGeom prst="rect">
            <a:avLst/>
          </a:prstGeom>
          <a:noFill/>
        </p:spPr>
      </p:pic>
      <p:pic>
        <p:nvPicPr>
          <p:cNvPr id="7" name="Picture 2" descr="D:\Фото\фото 87 5с\WP_000891.jpg"/>
          <p:cNvPicPr>
            <a:picLocks noChangeAspect="1" noChangeArrowheads="1"/>
          </p:cNvPicPr>
          <p:nvPr/>
        </p:nvPicPr>
        <p:blipFill rotWithShape="1">
          <a:blip r:embed="rId4" cstate="email"/>
          <a:srcRect b="11835"/>
          <a:stretch/>
        </p:blipFill>
        <p:spPr bwMode="auto">
          <a:xfrm>
            <a:off x="5125386" y="3767861"/>
            <a:ext cx="3584013" cy="2455139"/>
          </a:xfrm>
          <a:prstGeom prst="rect">
            <a:avLst/>
          </a:prstGeom>
          <a:noFill/>
        </p:spPr>
      </p:pic>
      <p:pic>
        <p:nvPicPr>
          <p:cNvPr id="8" name="Picture 5" descr="D:\Фото\фото 87 5с\WP_000801.jpg"/>
          <p:cNvPicPr>
            <a:picLocks noChangeAspect="1" noChangeArrowheads="1"/>
          </p:cNvPicPr>
          <p:nvPr/>
        </p:nvPicPr>
        <p:blipFill rotWithShape="1">
          <a:blip r:embed="rId5" cstate="email"/>
          <a:srcRect t="-1" b="-9606"/>
          <a:stretch/>
        </p:blipFill>
        <p:spPr bwMode="auto">
          <a:xfrm>
            <a:off x="375693" y="3767861"/>
            <a:ext cx="3606553" cy="2704916"/>
          </a:xfrm>
          <a:prstGeom prst="rect">
            <a:avLst/>
          </a:prstGeom>
          <a:noFill/>
        </p:spPr>
      </p:pic>
      <p:sp>
        <p:nvSpPr>
          <p:cNvPr id="9" name="Стрелка вправо 8"/>
          <p:cNvSpPr/>
          <p:nvPr/>
        </p:nvSpPr>
        <p:spPr>
          <a:xfrm>
            <a:off x="4286664" y="4158547"/>
            <a:ext cx="534304" cy="1673765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2846" y="975844"/>
            <a:ext cx="3606553" cy="2703324"/>
          </a:xfrm>
          <a:prstGeom prst="rect">
            <a:avLst/>
          </a:prstGeom>
        </p:spPr>
      </p:pic>
      <p:sp>
        <p:nvSpPr>
          <p:cNvPr id="12" name="Стрелка вправо 11"/>
          <p:cNvSpPr/>
          <p:nvPr/>
        </p:nvSpPr>
        <p:spPr>
          <a:xfrm>
            <a:off x="4286664" y="1490623"/>
            <a:ext cx="534304" cy="1673765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3857597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D:\Мои документы\Бережливое производство\Печать ПСР\как было\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2" y="3708400"/>
            <a:ext cx="4084232" cy="251201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5" descr="IMGP6814"/>
          <p:cNvPicPr>
            <a:picLocks noChangeAspect="1" noChangeArrowheads="1"/>
          </p:cNvPicPr>
          <p:nvPr/>
        </p:nvPicPr>
        <p:blipFill>
          <a:blip r:embed="rId4" cstate="print"/>
          <a:srcRect t="2133"/>
          <a:stretch>
            <a:fillRect/>
          </a:stretch>
        </p:blipFill>
        <p:spPr bwMode="auto">
          <a:xfrm>
            <a:off x="4748191" y="3708400"/>
            <a:ext cx="3987374" cy="2512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IMGP647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4462" y="1016000"/>
            <a:ext cx="4084232" cy="265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Level1-4_english 002_000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48191" y="1018010"/>
            <a:ext cx="3987375" cy="2652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1563265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1174287" y="315505"/>
            <a:ext cx="6710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</a:t>
            </a: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визуализация правила первого шаг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14314" y="976628"/>
            <a:ext cx="7145669" cy="295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Цель шага </a:t>
            </a:r>
            <a:r>
              <a:rPr lang="ru-RU" sz="1323" b="1" i="1" dirty="0">
                <a:solidFill>
                  <a:srgbClr val="C00000"/>
                </a:solidFill>
                <a:latin typeface="Calibri"/>
              </a:rPr>
              <a:t>«Сортировка» </a:t>
            </a: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– ЭФФЕКТИВНОЕ использование рабочего</a:t>
            </a:r>
            <a:r>
              <a:rPr lang="en-US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пространства.</a:t>
            </a:r>
            <a:endParaRPr lang="ru-RU" sz="1323" i="1" dirty="0">
              <a:solidFill>
                <a:srgbClr val="4F81B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69869" y="5641514"/>
            <a:ext cx="51566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prstClr val="black"/>
                </a:solidFill>
                <a:latin typeface="Calibri"/>
              </a:rPr>
              <a:t>Ненужный </a:t>
            </a:r>
            <a:r>
              <a:rPr lang="ru-RU" sz="2800" dirty="0">
                <a:solidFill>
                  <a:prstClr val="black"/>
                </a:solidFill>
                <a:latin typeface="Calibri"/>
              </a:rPr>
              <a:t>предмет – это мусор!</a:t>
            </a:r>
          </a:p>
        </p:txBody>
      </p:sp>
      <p:pic>
        <p:nvPicPr>
          <p:cNvPr id="17" name="Picture 11" descr="5S02BI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77319" y="5416090"/>
            <a:ext cx="1640857" cy="864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4"/>
          <p:cNvGrpSpPr/>
          <p:nvPr/>
        </p:nvGrpSpPr>
        <p:grpSpPr>
          <a:xfrm>
            <a:off x="4845239" y="1316520"/>
            <a:ext cx="3864160" cy="2263532"/>
            <a:chOff x="4798304" y="973460"/>
            <a:chExt cx="2651821" cy="1988866"/>
          </a:xfrm>
        </p:grpSpPr>
        <p:pic>
          <p:nvPicPr>
            <p:cNvPr id="11" name="Picture 4" descr="D:\Фото\фото 87 5с\WP_000907.jpg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4798304" y="973460"/>
              <a:ext cx="2651821" cy="1988866"/>
            </a:xfrm>
            <a:prstGeom prst="rect">
              <a:avLst/>
            </a:prstGeom>
            <a:noFill/>
          </p:spPr>
        </p:pic>
        <p:sp>
          <p:nvSpPr>
            <p:cNvPr id="20" name="Улыбающееся лицо 19"/>
            <p:cNvSpPr/>
            <p:nvPr/>
          </p:nvSpPr>
          <p:spPr>
            <a:xfrm>
              <a:off x="4836435" y="1059209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5351" y="1316520"/>
            <a:ext cx="3864160" cy="2263532"/>
            <a:chOff x="1825812" y="987668"/>
            <a:chExt cx="2635248" cy="1976436"/>
          </a:xfrm>
        </p:grpSpPr>
        <p:pic>
          <p:nvPicPr>
            <p:cNvPr id="12" name="Picture 4" descr="D:\Фото\фото 87 5с\WP_000787.jpg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1825812" y="987668"/>
              <a:ext cx="2635248" cy="1976436"/>
            </a:xfrm>
            <a:prstGeom prst="rect">
              <a:avLst/>
            </a:prstGeom>
            <a:noFill/>
          </p:spPr>
        </p:pic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2105475" y="1614018"/>
              <a:ext cx="1104903" cy="74668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2098829" y="1696239"/>
              <a:ext cx="1323272" cy="664462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197957"/>
              </p:ext>
            </p:extLst>
          </p:nvPr>
        </p:nvGraphicFramePr>
        <p:xfrm>
          <a:off x="175351" y="3651345"/>
          <a:ext cx="8534049" cy="105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13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8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46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НУЖНЫЙ</a:t>
                      </a:r>
                      <a:endParaRPr lang="ru-RU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НЕ НУЖНЫЙ СРОЧНО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НЕНУЖНЫЙ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ежечасно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ежедневно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раз в неделю</a:t>
                      </a:r>
                      <a:endParaRPr lang="ru-RU" sz="13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реже 1 раза в неделю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</a:t>
                      </a:r>
                      <a:r>
                        <a:rPr lang="ru-RU" sz="1300" baseline="0" dirty="0" smtClean="0"/>
                        <a:t> по мере надобност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baseline="0" dirty="0" smtClean="0"/>
                        <a:t>Использую под редкий заказ</a:t>
                      </a:r>
                      <a:endParaRPr lang="ru-RU" sz="13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Не использую в техпроцесс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Не использую более 3-х месяцев</a:t>
                      </a:r>
                      <a:endParaRPr lang="ru-RU" sz="13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Стрелка вниз 21"/>
          <p:cNvSpPr/>
          <p:nvPr/>
        </p:nvSpPr>
        <p:spPr>
          <a:xfrm>
            <a:off x="932323" y="4709428"/>
            <a:ext cx="926373" cy="139700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3894488" y="4707985"/>
            <a:ext cx="926373" cy="139700"/>
          </a:xfrm>
          <a:prstGeom prst="down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6845172" y="4705271"/>
            <a:ext cx="926373" cy="1397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84249" y="4825234"/>
            <a:ext cx="2923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ставляю на рабочем месте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4546639" y="4825234"/>
            <a:ext cx="26163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даляю с рабочего места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1284087" y="5005194"/>
            <a:ext cx="47000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dirty="0" smtClean="0">
                <a:solidFill>
                  <a:srgbClr val="FF0000"/>
                </a:solidFill>
              </a:rPr>
              <a:t>!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685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480096" y="1065312"/>
            <a:ext cx="5746519" cy="1098302"/>
            <a:chOff x="2339752" y="1052736"/>
            <a:chExt cx="5746519" cy="1098302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1073820"/>
              <a:ext cx="5098447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2: Соблюдайте порядок</a:t>
              </a:r>
            </a:p>
            <a:p>
              <a:r>
                <a:rPr lang="ru-RU" dirty="0"/>
                <a:t>(правильная организация)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79636" y="1890812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250825" y="2349500"/>
            <a:ext cx="4297363" cy="120032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предели место для каждой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вещи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Каждая вещь на своём месте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627908" y="5324145"/>
            <a:ext cx="6192688" cy="58217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Лучше система, лучше работа</a:t>
            </a:r>
            <a:endParaRPr lang="en-GB" sz="32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aramond" pitchFamily="18" charset="0"/>
            </a:endParaRPr>
          </a:p>
        </p:txBody>
      </p:sp>
      <p:pic>
        <p:nvPicPr>
          <p:cNvPr id="18" name="Picture 10" descr="5S05BI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6733" y="3897738"/>
            <a:ext cx="1746250" cy="133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 descr="D:\РАБОТА\КОП в ОР ПСР\человечки 3D\1607567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26615" y="3327524"/>
            <a:ext cx="1713870" cy="14401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1345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1791</TotalTime>
  <Words>1329</Words>
  <Application>Microsoft Office PowerPoint</Application>
  <PresentationFormat>Произвольный</PresentationFormat>
  <Paragraphs>255</Paragraphs>
  <Slides>3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5" baseType="lpstr">
      <vt:lpstr>Arial</vt:lpstr>
      <vt:lpstr>Arial Unicode MS</vt:lpstr>
      <vt:lpstr>Calibri</vt:lpstr>
      <vt:lpstr>Garamond</vt:lpstr>
      <vt:lpstr>Times New Roman</vt:lpstr>
      <vt:lpstr>Wingdings</vt:lpstr>
      <vt:lpstr>RDM027</vt:lpstr>
      <vt:lpstr>b-default</vt:lpstr>
      <vt:lpstr>1_b-default</vt:lpstr>
      <vt:lpstr>1_RDM027</vt:lpstr>
      <vt:lpstr>2_RDM027</vt:lpstr>
      <vt:lpstr>3_RDM027</vt:lpstr>
      <vt:lpstr>4_RDM027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Бабун</cp:lastModifiedBy>
  <cp:revision>1858</cp:revision>
  <cp:lastPrinted>2015-11-20T13:18:24Z</cp:lastPrinted>
  <dcterms:created xsi:type="dcterms:W3CDTF">2014-11-19T15:14:37Z</dcterms:created>
  <dcterms:modified xsi:type="dcterms:W3CDTF">2017-11-23T15:3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